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10.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1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18.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21" r:id="rId1"/>
  </p:sldMasterIdLst>
  <p:notesMasterIdLst>
    <p:notesMasterId r:id="rId40"/>
  </p:notesMasterIdLst>
  <p:handoutMasterIdLst>
    <p:handoutMasterId r:id="rId41"/>
  </p:handoutMasterIdLst>
  <p:sldIdLst>
    <p:sldId id="262" r:id="rId2"/>
    <p:sldId id="315" r:id="rId3"/>
    <p:sldId id="313" r:id="rId4"/>
    <p:sldId id="331" r:id="rId5"/>
    <p:sldId id="266" r:id="rId6"/>
    <p:sldId id="267" r:id="rId7"/>
    <p:sldId id="304" r:id="rId8"/>
    <p:sldId id="327" r:id="rId9"/>
    <p:sldId id="268" r:id="rId10"/>
    <p:sldId id="269" r:id="rId11"/>
    <p:sldId id="270" r:id="rId12"/>
    <p:sldId id="271" r:id="rId13"/>
    <p:sldId id="272" r:id="rId14"/>
    <p:sldId id="273" r:id="rId15"/>
    <p:sldId id="335" r:id="rId16"/>
    <p:sldId id="276" r:id="rId17"/>
    <p:sldId id="279" r:id="rId18"/>
    <p:sldId id="281" r:id="rId19"/>
    <p:sldId id="284" r:id="rId20"/>
    <p:sldId id="282" r:id="rId21"/>
    <p:sldId id="283" r:id="rId22"/>
    <p:sldId id="285" r:id="rId23"/>
    <p:sldId id="319" r:id="rId24"/>
    <p:sldId id="320" r:id="rId25"/>
    <p:sldId id="321" r:id="rId26"/>
    <p:sldId id="328" r:id="rId27"/>
    <p:sldId id="323" r:id="rId28"/>
    <p:sldId id="289" r:id="rId29"/>
    <p:sldId id="290" r:id="rId30"/>
    <p:sldId id="291" r:id="rId31"/>
    <p:sldId id="292" r:id="rId32"/>
    <p:sldId id="347" r:id="rId33"/>
    <p:sldId id="294" r:id="rId34"/>
    <p:sldId id="299" r:id="rId35"/>
    <p:sldId id="310" r:id="rId36"/>
    <p:sldId id="311" r:id="rId37"/>
    <p:sldId id="312" r:id="rId38"/>
    <p:sldId id="309" r:id="rId39"/>
  </p:sldIdLst>
  <p:sldSz cx="9144000" cy="5143500" type="screen16x9"/>
  <p:notesSz cx="6858000" cy="91011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16" userDrawn="1">
          <p15:clr>
            <a:srgbClr val="A4A3A4"/>
          </p15:clr>
        </p15:guide>
        <p15:guide id="2" orient="horz" pos="2516" userDrawn="1">
          <p15:clr>
            <a:srgbClr val="A4A3A4"/>
          </p15:clr>
        </p15:guide>
        <p15:guide id="3" orient="horz" pos="83" userDrawn="1">
          <p15:clr>
            <a:srgbClr val="A4A3A4"/>
          </p15:clr>
        </p15:guide>
        <p15:guide id="4" orient="horz" pos="156" userDrawn="1">
          <p15:clr>
            <a:srgbClr val="A4A3A4"/>
          </p15:clr>
        </p15:guide>
        <p15:guide id="5" orient="horz" pos="448" userDrawn="1">
          <p15:clr>
            <a:srgbClr val="A4A3A4"/>
          </p15:clr>
        </p15:guide>
        <p15:guide id="6" orient="horz" pos="806" userDrawn="1">
          <p15:clr>
            <a:srgbClr val="A4A3A4"/>
          </p15:clr>
        </p15:guide>
        <p15:guide id="7" orient="horz" pos="907" userDrawn="1">
          <p15:clr>
            <a:srgbClr val="A4A3A4"/>
          </p15:clr>
        </p15:guide>
        <p15:guide id="8" pos="2871" userDrawn="1">
          <p15:clr>
            <a:srgbClr val="A4A3A4"/>
          </p15:clr>
        </p15:guide>
        <p15:guide id="9" pos="575" userDrawn="1">
          <p15:clr>
            <a:srgbClr val="A4A3A4"/>
          </p15:clr>
        </p15:guide>
        <p15:guide id="10" pos="5621" userDrawn="1">
          <p15:clr>
            <a:srgbClr val="A4A3A4"/>
          </p15:clr>
        </p15:guide>
        <p15:guide id="11" pos="5192" userDrawn="1">
          <p15:clr>
            <a:srgbClr val="A4A3A4"/>
          </p15:clr>
        </p15:guide>
      </p15:sldGuideLst>
    </p:ext>
    <p:ext uri="{2D200454-40CA-4A62-9FC3-DE9A4176ACB9}">
      <p15:notesGuideLst xmlns:p15="http://schemas.microsoft.com/office/powerpoint/2012/main">
        <p15:guide id="1" orient="horz" pos="2867">
          <p15:clr>
            <a:srgbClr val="A4A3A4"/>
          </p15:clr>
        </p15:guide>
        <p15:guide id="2" pos="2160">
          <p15:clr>
            <a:srgbClr val="A4A3A4"/>
          </p15:clr>
        </p15:guide>
        <p15:guide id="3" orient="horz" pos="2160">
          <p15:clr>
            <a:srgbClr val="A4A3A4"/>
          </p15:clr>
        </p15:guide>
        <p15:guide id="4" pos="2867">
          <p15:clr>
            <a:srgbClr val="A4A3A4"/>
          </p15:clr>
        </p15:guide>
        <p15:guide id="5" orient="horz" pos="3805">
          <p15:clr>
            <a:srgbClr val="A4A3A4"/>
          </p15:clr>
        </p15:guide>
        <p15:guide id="6" pos="162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ean Leffingwell" initials="DL" lastIdx="1" clrIdx="0"/>
  <p:cmAuthor id="1" name="Microsoft Office User" initials="Office" lastIdx="1"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2" clrMode="gray" frameSlides="1"/>
  <p:clrMru>
    <a:srgbClr val="2F5FAC"/>
    <a:srgbClr val="FED28D"/>
    <a:srgbClr val="D6763E"/>
    <a:srgbClr val="818386"/>
    <a:srgbClr val="FFFF89"/>
    <a:srgbClr val="FFFFFF"/>
    <a:srgbClr val="595959"/>
    <a:srgbClr val="336600"/>
    <a:srgbClr val="FF9966"/>
    <a:srgbClr val="A5002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806" autoAdjust="0"/>
    <p:restoredTop sz="93605" autoAdjust="0"/>
  </p:normalViewPr>
  <p:slideViewPr>
    <p:cSldViewPr snapToGrid="0">
      <p:cViewPr varScale="1">
        <p:scale>
          <a:sx n="160" d="100"/>
          <a:sy n="160" d="100"/>
        </p:scale>
        <p:origin x="640" y="168"/>
      </p:cViewPr>
      <p:guideLst>
        <p:guide orient="horz" pos="1616"/>
        <p:guide orient="horz" pos="2516"/>
        <p:guide orient="horz" pos="83"/>
        <p:guide orient="horz" pos="156"/>
        <p:guide orient="horz" pos="448"/>
        <p:guide orient="horz" pos="806"/>
        <p:guide orient="horz" pos="907"/>
        <p:guide pos="2871"/>
        <p:guide pos="575"/>
        <p:guide pos="5621"/>
        <p:guide pos="5192"/>
      </p:guideLst>
    </p:cSldViewPr>
  </p:slideViewPr>
  <p:notesTextViewPr>
    <p:cViewPr>
      <p:scale>
        <a:sx n="100" d="100"/>
        <a:sy n="100" d="100"/>
      </p:scale>
      <p:origin x="0" y="0"/>
    </p:cViewPr>
  </p:notesTextViewPr>
  <p:sorterViewPr>
    <p:cViewPr>
      <p:scale>
        <a:sx n="200" d="100"/>
        <a:sy n="200" d="100"/>
      </p:scale>
      <p:origin x="0" y="9672"/>
    </p:cViewPr>
  </p:sorterViewPr>
  <p:notesViewPr>
    <p:cSldViewPr snapToGrid="0">
      <p:cViewPr varScale="1">
        <p:scale>
          <a:sx n="174" d="100"/>
          <a:sy n="174" d="100"/>
        </p:scale>
        <p:origin x="1864" y="176"/>
      </p:cViewPr>
      <p:guideLst>
        <p:guide orient="horz" pos="2867"/>
        <p:guide pos="2160"/>
        <p:guide orient="horz" pos="2160"/>
        <p:guide pos="2867"/>
        <p:guide orient="horz" pos="3805"/>
        <p:guide pos="162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commentAuthors" Target="commentAuthor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notesMaster" Target="notesMasters/notesMaster1.xml"/><Relationship Id="rId45"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presProps" Target="presProp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ableStyles" Target="tableStyles.xml"/><Relationship Id="rId20" Type="http://schemas.openxmlformats.org/officeDocument/2006/relationships/slide" Target="slides/slide19.xml"/><Relationship Id="rId41" Type="http://schemas.openxmlformats.org/officeDocument/2006/relationships/handoutMaster" Target="handoutMasters/handout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78DBB57-7D50-C649-A5CA-4D486C2E4793}" type="doc">
      <dgm:prSet loTypeId="urn:microsoft.com/office/officeart/2005/8/layout/cycle1" loCatId="" qsTypeId="urn:microsoft.com/office/officeart/2005/8/quickstyle/simple4" qsCatId="simple" csTypeId="urn:microsoft.com/office/officeart/2005/8/colors/accent1_2" csCatId="accent1" phldr="1"/>
      <dgm:spPr/>
      <dgm:t>
        <a:bodyPr/>
        <a:lstStyle/>
        <a:p>
          <a:endParaRPr lang="en-US"/>
        </a:p>
      </dgm:t>
    </dgm:pt>
    <dgm:pt modelId="{333752B9-86B3-794B-9A56-3943A6EE7FB7}">
      <dgm:prSet phldrT="[Text]"/>
      <dgm:spPr/>
      <dgm:t>
        <a:bodyPr/>
        <a:lstStyle/>
        <a:p>
          <a:r>
            <a:rPr lang="en-US" dirty="0"/>
            <a:t>Do</a:t>
          </a:r>
        </a:p>
      </dgm:t>
    </dgm:pt>
    <dgm:pt modelId="{CA6E055B-BB9C-5740-9C7F-A144A49C97D3}" type="parTrans" cxnId="{539673F1-2114-8D4B-BD2C-4C8109EEED0E}">
      <dgm:prSet/>
      <dgm:spPr/>
      <dgm:t>
        <a:bodyPr/>
        <a:lstStyle/>
        <a:p>
          <a:endParaRPr lang="en-US"/>
        </a:p>
      </dgm:t>
    </dgm:pt>
    <dgm:pt modelId="{6F9A5B67-52E9-8E4B-B690-0418DB018A9E}" type="sibTrans" cxnId="{539673F1-2114-8D4B-BD2C-4C8109EEED0E}">
      <dgm:prSet/>
      <dgm:spPr>
        <a:solidFill>
          <a:schemeClr val="bg2">
            <a:lumMod val="50000"/>
          </a:schemeClr>
        </a:solidFill>
        <a:effectLst/>
      </dgm:spPr>
      <dgm:t>
        <a:bodyPr/>
        <a:lstStyle/>
        <a:p>
          <a:endParaRPr lang="en-US"/>
        </a:p>
      </dgm:t>
    </dgm:pt>
    <dgm:pt modelId="{15062EFC-2288-C649-8B63-E62A3C42602B}">
      <dgm:prSet phldrT="[Text]"/>
      <dgm:spPr/>
      <dgm:t>
        <a:bodyPr/>
        <a:lstStyle/>
        <a:p>
          <a:r>
            <a:rPr lang="en-US" dirty="0"/>
            <a:t>Check</a:t>
          </a:r>
        </a:p>
      </dgm:t>
    </dgm:pt>
    <dgm:pt modelId="{51C9EDFD-70A4-F945-833C-87114EB4DB61}" type="parTrans" cxnId="{1D84DBF8-2269-6D45-A80F-9F520803A8FE}">
      <dgm:prSet/>
      <dgm:spPr/>
      <dgm:t>
        <a:bodyPr/>
        <a:lstStyle/>
        <a:p>
          <a:endParaRPr lang="en-US"/>
        </a:p>
      </dgm:t>
    </dgm:pt>
    <dgm:pt modelId="{5C6A8549-70E4-624E-8B8E-3204F178034B}" type="sibTrans" cxnId="{1D84DBF8-2269-6D45-A80F-9F520803A8FE}">
      <dgm:prSet/>
      <dgm:spPr>
        <a:solidFill>
          <a:schemeClr val="bg2">
            <a:lumMod val="50000"/>
          </a:schemeClr>
        </a:solidFill>
        <a:effectLst/>
      </dgm:spPr>
      <dgm:t>
        <a:bodyPr/>
        <a:lstStyle/>
        <a:p>
          <a:endParaRPr lang="en-US"/>
        </a:p>
      </dgm:t>
    </dgm:pt>
    <dgm:pt modelId="{F61EAF86-23AE-8444-8A0B-952A7BE59FAD}">
      <dgm:prSet phldrT="[Text]"/>
      <dgm:spPr/>
      <dgm:t>
        <a:bodyPr/>
        <a:lstStyle/>
        <a:p>
          <a:r>
            <a:rPr lang="en-US" dirty="0"/>
            <a:t>Adjust</a:t>
          </a:r>
        </a:p>
      </dgm:t>
    </dgm:pt>
    <dgm:pt modelId="{9B5845A9-AA72-474F-ACE5-A738BDB665D1}" type="parTrans" cxnId="{FA088DE6-3C74-4B42-9474-83855340AFA0}">
      <dgm:prSet/>
      <dgm:spPr/>
      <dgm:t>
        <a:bodyPr/>
        <a:lstStyle/>
        <a:p>
          <a:endParaRPr lang="en-US"/>
        </a:p>
      </dgm:t>
    </dgm:pt>
    <dgm:pt modelId="{3411607D-9DB3-BB4A-BE77-A76686F74D6D}" type="sibTrans" cxnId="{FA088DE6-3C74-4B42-9474-83855340AFA0}">
      <dgm:prSet/>
      <dgm:spPr>
        <a:solidFill>
          <a:schemeClr val="bg2">
            <a:lumMod val="50000"/>
          </a:schemeClr>
        </a:solidFill>
        <a:effectLst/>
      </dgm:spPr>
      <dgm:t>
        <a:bodyPr/>
        <a:lstStyle/>
        <a:p>
          <a:endParaRPr lang="en-US"/>
        </a:p>
      </dgm:t>
    </dgm:pt>
    <dgm:pt modelId="{D1D242AD-C6AB-5846-984A-CE26035B1F64}">
      <dgm:prSet phldrT="[Text]"/>
      <dgm:spPr/>
      <dgm:t>
        <a:bodyPr/>
        <a:lstStyle/>
        <a:p>
          <a:r>
            <a:rPr lang="en-US" dirty="0"/>
            <a:t>Plan</a:t>
          </a:r>
        </a:p>
      </dgm:t>
    </dgm:pt>
    <dgm:pt modelId="{FC1DB619-B75F-B048-8743-38491D63B064}" type="parTrans" cxnId="{551E0DB4-4116-E140-B52B-CDCE4D76AA80}">
      <dgm:prSet/>
      <dgm:spPr/>
      <dgm:t>
        <a:bodyPr/>
        <a:lstStyle/>
        <a:p>
          <a:endParaRPr lang="en-US"/>
        </a:p>
      </dgm:t>
    </dgm:pt>
    <dgm:pt modelId="{1D16AFA1-EAF7-7740-8454-79DE10F38084}" type="sibTrans" cxnId="{551E0DB4-4116-E140-B52B-CDCE4D76AA80}">
      <dgm:prSet/>
      <dgm:spPr>
        <a:solidFill>
          <a:schemeClr val="bg2">
            <a:lumMod val="50000"/>
          </a:schemeClr>
        </a:solidFill>
        <a:effectLst/>
      </dgm:spPr>
      <dgm:t>
        <a:bodyPr/>
        <a:lstStyle/>
        <a:p>
          <a:endParaRPr lang="en-US"/>
        </a:p>
      </dgm:t>
    </dgm:pt>
    <dgm:pt modelId="{C0625F23-FACC-1E49-AF15-2496E2BB81B5}" type="pres">
      <dgm:prSet presAssocID="{778DBB57-7D50-C649-A5CA-4D486C2E4793}" presName="cycle" presStyleCnt="0">
        <dgm:presLayoutVars>
          <dgm:dir/>
          <dgm:resizeHandles val="exact"/>
        </dgm:presLayoutVars>
      </dgm:prSet>
      <dgm:spPr/>
    </dgm:pt>
    <dgm:pt modelId="{74C60E3F-A1BD-E94C-B608-17B48A435AF0}" type="pres">
      <dgm:prSet presAssocID="{333752B9-86B3-794B-9A56-3943A6EE7FB7}" presName="dummy" presStyleCnt="0"/>
      <dgm:spPr/>
    </dgm:pt>
    <dgm:pt modelId="{8BC0829A-274A-8744-98CB-44790541ADB3}" type="pres">
      <dgm:prSet presAssocID="{333752B9-86B3-794B-9A56-3943A6EE7FB7}" presName="node" presStyleLbl="revTx" presStyleIdx="0" presStyleCnt="4">
        <dgm:presLayoutVars>
          <dgm:bulletEnabled val="1"/>
        </dgm:presLayoutVars>
      </dgm:prSet>
      <dgm:spPr/>
    </dgm:pt>
    <dgm:pt modelId="{B7464E82-40D2-F541-ACEE-BAD62C61D323}" type="pres">
      <dgm:prSet presAssocID="{6F9A5B67-52E9-8E4B-B690-0418DB018A9E}" presName="sibTrans" presStyleLbl="node1" presStyleIdx="0" presStyleCnt="4"/>
      <dgm:spPr/>
    </dgm:pt>
    <dgm:pt modelId="{1C069E80-CA35-8E4B-A323-5C5F1B26DA96}" type="pres">
      <dgm:prSet presAssocID="{15062EFC-2288-C649-8B63-E62A3C42602B}" presName="dummy" presStyleCnt="0"/>
      <dgm:spPr/>
    </dgm:pt>
    <dgm:pt modelId="{42D0F23A-99C2-874B-8F3C-B9891A026658}" type="pres">
      <dgm:prSet presAssocID="{15062EFC-2288-C649-8B63-E62A3C42602B}" presName="node" presStyleLbl="revTx" presStyleIdx="1" presStyleCnt="4">
        <dgm:presLayoutVars>
          <dgm:bulletEnabled val="1"/>
        </dgm:presLayoutVars>
      </dgm:prSet>
      <dgm:spPr/>
    </dgm:pt>
    <dgm:pt modelId="{B1C69493-9881-2F43-90D5-717D96F6294D}" type="pres">
      <dgm:prSet presAssocID="{5C6A8549-70E4-624E-8B8E-3204F178034B}" presName="sibTrans" presStyleLbl="node1" presStyleIdx="1" presStyleCnt="4"/>
      <dgm:spPr/>
    </dgm:pt>
    <dgm:pt modelId="{3FD36272-AFFF-6242-A6B5-531A33A9D9C6}" type="pres">
      <dgm:prSet presAssocID="{F61EAF86-23AE-8444-8A0B-952A7BE59FAD}" presName="dummy" presStyleCnt="0"/>
      <dgm:spPr/>
    </dgm:pt>
    <dgm:pt modelId="{70167A6C-CDD2-C844-8F3E-06B3C30FF12F}" type="pres">
      <dgm:prSet presAssocID="{F61EAF86-23AE-8444-8A0B-952A7BE59FAD}" presName="node" presStyleLbl="revTx" presStyleIdx="2" presStyleCnt="4">
        <dgm:presLayoutVars>
          <dgm:bulletEnabled val="1"/>
        </dgm:presLayoutVars>
      </dgm:prSet>
      <dgm:spPr/>
    </dgm:pt>
    <dgm:pt modelId="{267064E2-B0F4-EF43-89FE-832CBD9B8DD1}" type="pres">
      <dgm:prSet presAssocID="{3411607D-9DB3-BB4A-BE77-A76686F74D6D}" presName="sibTrans" presStyleLbl="node1" presStyleIdx="2" presStyleCnt="4"/>
      <dgm:spPr/>
    </dgm:pt>
    <dgm:pt modelId="{CE9AAD1A-EC6F-1E4E-AE15-6A255EF573A7}" type="pres">
      <dgm:prSet presAssocID="{D1D242AD-C6AB-5846-984A-CE26035B1F64}" presName="dummy" presStyleCnt="0"/>
      <dgm:spPr/>
    </dgm:pt>
    <dgm:pt modelId="{6C24B5F2-59F5-3B4A-B7C4-22DF14124EEA}" type="pres">
      <dgm:prSet presAssocID="{D1D242AD-C6AB-5846-984A-CE26035B1F64}" presName="node" presStyleLbl="revTx" presStyleIdx="3" presStyleCnt="4">
        <dgm:presLayoutVars>
          <dgm:bulletEnabled val="1"/>
        </dgm:presLayoutVars>
      </dgm:prSet>
      <dgm:spPr/>
    </dgm:pt>
    <dgm:pt modelId="{30C84352-3DB4-B243-9775-F7BAF98E0DA8}" type="pres">
      <dgm:prSet presAssocID="{1D16AFA1-EAF7-7740-8454-79DE10F38084}" presName="sibTrans" presStyleLbl="node1" presStyleIdx="3" presStyleCnt="4"/>
      <dgm:spPr/>
    </dgm:pt>
  </dgm:ptLst>
  <dgm:cxnLst>
    <dgm:cxn modelId="{1334BC07-EF60-AC4F-AAEC-51B63421E141}" type="presOf" srcId="{15062EFC-2288-C649-8B63-E62A3C42602B}" destId="{42D0F23A-99C2-874B-8F3C-B9891A026658}" srcOrd="0" destOrd="0" presId="urn:microsoft.com/office/officeart/2005/8/layout/cycle1"/>
    <dgm:cxn modelId="{A8CCD213-FD5B-3545-B061-30793879D3D8}" type="presOf" srcId="{D1D242AD-C6AB-5846-984A-CE26035B1F64}" destId="{6C24B5F2-59F5-3B4A-B7C4-22DF14124EEA}" srcOrd="0" destOrd="0" presId="urn:microsoft.com/office/officeart/2005/8/layout/cycle1"/>
    <dgm:cxn modelId="{A4405932-9D47-9246-A0A8-5176B821F220}" type="presOf" srcId="{6F9A5B67-52E9-8E4B-B690-0418DB018A9E}" destId="{B7464E82-40D2-F541-ACEE-BAD62C61D323}" srcOrd="0" destOrd="0" presId="urn:microsoft.com/office/officeart/2005/8/layout/cycle1"/>
    <dgm:cxn modelId="{39F5F139-070A-D046-9172-636C8C10F914}" type="presOf" srcId="{F61EAF86-23AE-8444-8A0B-952A7BE59FAD}" destId="{70167A6C-CDD2-C844-8F3E-06B3C30FF12F}" srcOrd="0" destOrd="0" presId="urn:microsoft.com/office/officeart/2005/8/layout/cycle1"/>
    <dgm:cxn modelId="{9371618B-5023-1641-B3B6-0E4469835393}" type="presOf" srcId="{333752B9-86B3-794B-9A56-3943A6EE7FB7}" destId="{8BC0829A-274A-8744-98CB-44790541ADB3}" srcOrd="0" destOrd="0" presId="urn:microsoft.com/office/officeart/2005/8/layout/cycle1"/>
    <dgm:cxn modelId="{2A81719A-32F4-2045-8023-AD7321C2CAD7}" type="presOf" srcId="{5C6A8549-70E4-624E-8B8E-3204F178034B}" destId="{B1C69493-9881-2F43-90D5-717D96F6294D}" srcOrd="0" destOrd="0" presId="urn:microsoft.com/office/officeart/2005/8/layout/cycle1"/>
    <dgm:cxn modelId="{551E0DB4-4116-E140-B52B-CDCE4D76AA80}" srcId="{778DBB57-7D50-C649-A5CA-4D486C2E4793}" destId="{D1D242AD-C6AB-5846-984A-CE26035B1F64}" srcOrd="3" destOrd="0" parTransId="{FC1DB619-B75F-B048-8743-38491D63B064}" sibTransId="{1D16AFA1-EAF7-7740-8454-79DE10F38084}"/>
    <dgm:cxn modelId="{8EF0F4D7-EC94-D547-8C36-3E715FDF1D97}" type="presOf" srcId="{1D16AFA1-EAF7-7740-8454-79DE10F38084}" destId="{30C84352-3DB4-B243-9775-F7BAF98E0DA8}" srcOrd="0" destOrd="0" presId="urn:microsoft.com/office/officeart/2005/8/layout/cycle1"/>
    <dgm:cxn modelId="{8D1AA1E4-063C-544E-B46B-77996E1A5D38}" type="presOf" srcId="{778DBB57-7D50-C649-A5CA-4D486C2E4793}" destId="{C0625F23-FACC-1E49-AF15-2496E2BB81B5}" srcOrd="0" destOrd="0" presId="urn:microsoft.com/office/officeart/2005/8/layout/cycle1"/>
    <dgm:cxn modelId="{FA088DE6-3C74-4B42-9474-83855340AFA0}" srcId="{778DBB57-7D50-C649-A5CA-4D486C2E4793}" destId="{F61EAF86-23AE-8444-8A0B-952A7BE59FAD}" srcOrd="2" destOrd="0" parTransId="{9B5845A9-AA72-474F-ACE5-A738BDB665D1}" sibTransId="{3411607D-9DB3-BB4A-BE77-A76686F74D6D}"/>
    <dgm:cxn modelId="{CDD843EC-114B-0F4A-AEF0-4F5B22A12389}" type="presOf" srcId="{3411607D-9DB3-BB4A-BE77-A76686F74D6D}" destId="{267064E2-B0F4-EF43-89FE-832CBD9B8DD1}" srcOrd="0" destOrd="0" presId="urn:microsoft.com/office/officeart/2005/8/layout/cycle1"/>
    <dgm:cxn modelId="{539673F1-2114-8D4B-BD2C-4C8109EEED0E}" srcId="{778DBB57-7D50-C649-A5CA-4D486C2E4793}" destId="{333752B9-86B3-794B-9A56-3943A6EE7FB7}" srcOrd="0" destOrd="0" parTransId="{CA6E055B-BB9C-5740-9C7F-A144A49C97D3}" sibTransId="{6F9A5B67-52E9-8E4B-B690-0418DB018A9E}"/>
    <dgm:cxn modelId="{1D84DBF8-2269-6D45-A80F-9F520803A8FE}" srcId="{778DBB57-7D50-C649-A5CA-4D486C2E4793}" destId="{15062EFC-2288-C649-8B63-E62A3C42602B}" srcOrd="1" destOrd="0" parTransId="{51C9EDFD-70A4-F945-833C-87114EB4DB61}" sibTransId="{5C6A8549-70E4-624E-8B8E-3204F178034B}"/>
    <dgm:cxn modelId="{E7E83949-D69A-6D4C-A1F2-358F76EFD535}" type="presParOf" srcId="{C0625F23-FACC-1E49-AF15-2496E2BB81B5}" destId="{74C60E3F-A1BD-E94C-B608-17B48A435AF0}" srcOrd="0" destOrd="0" presId="urn:microsoft.com/office/officeart/2005/8/layout/cycle1"/>
    <dgm:cxn modelId="{5BBE2C29-40D0-F64E-8EDA-FBE60FA722D8}" type="presParOf" srcId="{C0625F23-FACC-1E49-AF15-2496E2BB81B5}" destId="{8BC0829A-274A-8744-98CB-44790541ADB3}" srcOrd="1" destOrd="0" presId="urn:microsoft.com/office/officeart/2005/8/layout/cycle1"/>
    <dgm:cxn modelId="{40F25BF1-C2A8-694E-8FDC-59CF1DD74C0A}" type="presParOf" srcId="{C0625F23-FACC-1E49-AF15-2496E2BB81B5}" destId="{B7464E82-40D2-F541-ACEE-BAD62C61D323}" srcOrd="2" destOrd="0" presId="urn:microsoft.com/office/officeart/2005/8/layout/cycle1"/>
    <dgm:cxn modelId="{EEF68DEF-446E-1E4F-A047-E67CCFC2ACD2}" type="presParOf" srcId="{C0625F23-FACC-1E49-AF15-2496E2BB81B5}" destId="{1C069E80-CA35-8E4B-A323-5C5F1B26DA96}" srcOrd="3" destOrd="0" presId="urn:microsoft.com/office/officeart/2005/8/layout/cycle1"/>
    <dgm:cxn modelId="{BE273EAA-0AA0-5044-8260-03362C88C51C}" type="presParOf" srcId="{C0625F23-FACC-1E49-AF15-2496E2BB81B5}" destId="{42D0F23A-99C2-874B-8F3C-B9891A026658}" srcOrd="4" destOrd="0" presId="urn:microsoft.com/office/officeart/2005/8/layout/cycle1"/>
    <dgm:cxn modelId="{B9B9CBBE-ADEB-194B-B072-E712910D362A}" type="presParOf" srcId="{C0625F23-FACC-1E49-AF15-2496E2BB81B5}" destId="{B1C69493-9881-2F43-90D5-717D96F6294D}" srcOrd="5" destOrd="0" presId="urn:microsoft.com/office/officeart/2005/8/layout/cycle1"/>
    <dgm:cxn modelId="{55734828-4652-1041-A65B-60A4A1E1B68B}" type="presParOf" srcId="{C0625F23-FACC-1E49-AF15-2496E2BB81B5}" destId="{3FD36272-AFFF-6242-A6B5-531A33A9D9C6}" srcOrd="6" destOrd="0" presId="urn:microsoft.com/office/officeart/2005/8/layout/cycle1"/>
    <dgm:cxn modelId="{B07FD8E0-D995-124E-8433-512337C8DB43}" type="presParOf" srcId="{C0625F23-FACC-1E49-AF15-2496E2BB81B5}" destId="{70167A6C-CDD2-C844-8F3E-06B3C30FF12F}" srcOrd="7" destOrd="0" presId="urn:microsoft.com/office/officeart/2005/8/layout/cycle1"/>
    <dgm:cxn modelId="{B0648BA2-CA86-8945-BC4F-A4AA6FDCBD7A}" type="presParOf" srcId="{C0625F23-FACC-1E49-AF15-2496E2BB81B5}" destId="{267064E2-B0F4-EF43-89FE-832CBD9B8DD1}" srcOrd="8" destOrd="0" presId="urn:microsoft.com/office/officeart/2005/8/layout/cycle1"/>
    <dgm:cxn modelId="{A08A208F-AD5A-404C-A0CA-63E6985C4ABA}" type="presParOf" srcId="{C0625F23-FACC-1E49-AF15-2496E2BB81B5}" destId="{CE9AAD1A-EC6F-1E4E-AE15-6A255EF573A7}" srcOrd="9" destOrd="0" presId="urn:microsoft.com/office/officeart/2005/8/layout/cycle1"/>
    <dgm:cxn modelId="{9D7A61E7-31C0-E24C-92BE-CE4B3061263F}" type="presParOf" srcId="{C0625F23-FACC-1E49-AF15-2496E2BB81B5}" destId="{6C24B5F2-59F5-3B4A-B7C4-22DF14124EEA}" srcOrd="10" destOrd="0" presId="urn:microsoft.com/office/officeart/2005/8/layout/cycle1"/>
    <dgm:cxn modelId="{9A2BC5E0-BA46-5147-AB8E-FB5963A7C30C}" type="presParOf" srcId="{C0625F23-FACC-1E49-AF15-2496E2BB81B5}" destId="{30C84352-3DB4-B243-9775-F7BAF98E0DA8}" srcOrd="11" destOrd="0" presId="urn:microsoft.com/office/officeart/2005/8/layout/cycle1"/>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588B9C3-CEB4-E34C-8C52-0058A77A5967}" type="doc">
      <dgm:prSet loTypeId="urn:microsoft.com/office/officeart/2005/8/layout/cycle1" loCatId="" qsTypeId="urn:microsoft.com/office/officeart/2005/8/quickstyle/simple4" qsCatId="simple" csTypeId="urn:microsoft.com/office/officeart/2005/8/colors/accent1_2" csCatId="accent1" phldr="1"/>
      <dgm:spPr/>
      <dgm:t>
        <a:bodyPr/>
        <a:lstStyle/>
        <a:p>
          <a:endParaRPr lang="en-US"/>
        </a:p>
      </dgm:t>
    </dgm:pt>
    <dgm:pt modelId="{F1D14543-F82D-C34D-9668-173C4903971A}">
      <dgm:prSet phldrT="[Text]"/>
      <dgm:spPr/>
      <dgm:t>
        <a:bodyPr/>
        <a:lstStyle/>
        <a:p>
          <a:r>
            <a:rPr lang="en-US" dirty="0"/>
            <a:t>D</a:t>
          </a:r>
        </a:p>
      </dgm:t>
    </dgm:pt>
    <dgm:pt modelId="{4D57FF92-5D3B-7140-A10D-0ACF4851BE21}" type="parTrans" cxnId="{F6A2C82A-FB75-434A-B981-763C6E2006BC}">
      <dgm:prSet/>
      <dgm:spPr/>
      <dgm:t>
        <a:bodyPr/>
        <a:lstStyle/>
        <a:p>
          <a:endParaRPr lang="en-US"/>
        </a:p>
      </dgm:t>
    </dgm:pt>
    <dgm:pt modelId="{11B8C323-057B-6441-99A2-317BEEBE35EF}" type="sibTrans" cxnId="{F6A2C82A-FB75-434A-B981-763C6E2006BC}">
      <dgm:prSet/>
      <dgm:spPr>
        <a:solidFill>
          <a:schemeClr val="accent1"/>
        </a:solidFill>
        <a:effectLst/>
      </dgm:spPr>
      <dgm:t>
        <a:bodyPr/>
        <a:lstStyle/>
        <a:p>
          <a:endParaRPr lang="en-US"/>
        </a:p>
      </dgm:t>
    </dgm:pt>
    <dgm:pt modelId="{45BDB10D-D8FF-1B41-95F3-E7C6E32C9832}">
      <dgm:prSet phldrT="[Text]"/>
      <dgm:spPr/>
      <dgm:t>
        <a:bodyPr/>
        <a:lstStyle/>
        <a:p>
          <a:r>
            <a:rPr lang="en-US" dirty="0"/>
            <a:t>C</a:t>
          </a:r>
        </a:p>
      </dgm:t>
    </dgm:pt>
    <dgm:pt modelId="{7FC090E0-0471-CD47-A4F2-F8AF709FC9F0}" type="parTrans" cxnId="{FA82BCEC-A8AA-D14F-B9CB-A759877B1E91}">
      <dgm:prSet/>
      <dgm:spPr/>
      <dgm:t>
        <a:bodyPr/>
        <a:lstStyle/>
        <a:p>
          <a:endParaRPr lang="en-US"/>
        </a:p>
      </dgm:t>
    </dgm:pt>
    <dgm:pt modelId="{C1CCB627-1090-BA4B-AF8D-3189971223D0}" type="sibTrans" cxnId="{FA82BCEC-A8AA-D14F-B9CB-A759877B1E91}">
      <dgm:prSet/>
      <dgm:spPr>
        <a:solidFill>
          <a:schemeClr val="accent1"/>
        </a:solidFill>
        <a:effectLst/>
      </dgm:spPr>
      <dgm:t>
        <a:bodyPr/>
        <a:lstStyle/>
        <a:p>
          <a:endParaRPr lang="en-US"/>
        </a:p>
      </dgm:t>
    </dgm:pt>
    <dgm:pt modelId="{65947C88-E531-4940-B19C-89A94C1CFB76}">
      <dgm:prSet phldrT="[Text]"/>
      <dgm:spPr/>
      <dgm:t>
        <a:bodyPr/>
        <a:lstStyle/>
        <a:p>
          <a:r>
            <a:rPr lang="en-US" dirty="0"/>
            <a:t>A</a:t>
          </a:r>
        </a:p>
      </dgm:t>
    </dgm:pt>
    <dgm:pt modelId="{8EBF483E-D202-7C4D-95A3-6F31F71411D0}" type="parTrans" cxnId="{81536360-B5E0-9846-AC08-419E17DA8196}">
      <dgm:prSet/>
      <dgm:spPr/>
      <dgm:t>
        <a:bodyPr/>
        <a:lstStyle/>
        <a:p>
          <a:endParaRPr lang="en-US"/>
        </a:p>
      </dgm:t>
    </dgm:pt>
    <dgm:pt modelId="{836346A5-5AE6-CD4A-9B88-B2333DA08C01}" type="sibTrans" cxnId="{81536360-B5E0-9846-AC08-419E17DA8196}">
      <dgm:prSet/>
      <dgm:spPr>
        <a:solidFill>
          <a:schemeClr val="accent1"/>
        </a:solidFill>
        <a:effectLst/>
      </dgm:spPr>
      <dgm:t>
        <a:bodyPr/>
        <a:lstStyle/>
        <a:p>
          <a:endParaRPr lang="en-US"/>
        </a:p>
      </dgm:t>
    </dgm:pt>
    <dgm:pt modelId="{540B18D2-E4E9-8949-97E2-FCFF55243BFE}">
      <dgm:prSet phldrT="[Text]"/>
      <dgm:spPr/>
      <dgm:t>
        <a:bodyPr/>
        <a:lstStyle/>
        <a:p>
          <a:r>
            <a:rPr lang="en-US" dirty="0"/>
            <a:t>P</a:t>
          </a:r>
        </a:p>
      </dgm:t>
    </dgm:pt>
    <dgm:pt modelId="{6C946167-0D90-AB48-8A46-B0A37F3B89C3}" type="parTrans" cxnId="{C050BD73-4541-F346-97CC-4A8ABB6FA1EE}">
      <dgm:prSet/>
      <dgm:spPr/>
      <dgm:t>
        <a:bodyPr/>
        <a:lstStyle/>
        <a:p>
          <a:endParaRPr lang="en-US"/>
        </a:p>
      </dgm:t>
    </dgm:pt>
    <dgm:pt modelId="{A14BCAAD-E29B-3E4C-A8B1-884FB66DA62E}" type="sibTrans" cxnId="{C050BD73-4541-F346-97CC-4A8ABB6FA1EE}">
      <dgm:prSet/>
      <dgm:spPr>
        <a:solidFill>
          <a:schemeClr val="accent1"/>
        </a:solidFill>
        <a:effectLst/>
      </dgm:spPr>
      <dgm:t>
        <a:bodyPr/>
        <a:lstStyle/>
        <a:p>
          <a:endParaRPr lang="en-US"/>
        </a:p>
      </dgm:t>
    </dgm:pt>
    <dgm:pt modelId="{7B27746E-D0D9-E64F-A9ED-AB79DBD41883}" type="pres">
      <dgm:prSet presAssocID="{A588B9C3-CEB4-E34C-8C52-0058A77A5967}" presName="cycle" presStyleCnt="0">
        <dgm:presLayoutVars>
          <dgm:dir/>
          <dgm:resizeHandles val="exact"/>
        </dgm:presLayoutVars>
      </dgm:prSet>
      <dgm:spPr/>
    </dgm:pt>
    <dgm:pt modelId="{E7464EE5-05E1-2A4E-AF60-E276E5530F61}" type="pres">
      <dgm:prSet presAssocID="{F1D14543-F82D-C34D-9668-173C4903971A}" presName="dummy" presStyleCnt="0"/>
      <dgm:spPr/>
    </dgm:pt>
    <dgm:pt modelId="{0B4E8802-BF8B-A848-A20A-B295040CFECA}" type="pres">
      <dgm:prSet presAssocID="{F1D14543-F82D-C34D-9668-173C4903971A}" presName="node" presStyleLbl="revTx" presStyleIdx="0" presStyleCnt="4">
        <dgm:presLayoutVars>
          <dgm:bulletEnabled val="1"/>
        </dgm:presLayoutVars>
      </dgm:prSet>
      <dgm:spPr/>
    </dgm:pt>
    <dgm:pt modelId="{B3CA27BA-A25B-9340-B4F8-A7174A728D9A}" type="pres">
      <dgm:prSet presAssocID="{11B8C323-057B-6441-99A2-317BEEBE35EF}" presName="sibTrans" presStyleLbl="node1" presStyleIdx="0" presStyleCnt="4"/>
      <dgm:spPr/>
    </dgm:pt>
    <dgm:pt modelId="{1B81FA1F-3AA8-1043-8B93-D900BF74EE87}" type="pres">
      <dgm:prSet presAssocID="{45BDB10D-D8FF-1B41-95F3-E7C6E32C9832}" presName="dummy" presStyleCnt="0"/>
      <dgm:spPr/>
    </dgm:pt>
    <dgm:pt modelId="{7E9B646F-A801-F04D-9EDB-553A5A3BFCA6}" type="pres">
      <dgm:prSet presAssocID="{45BDB10D-D8FF-1B41-95F3-E7C6E32C9832}" presName="node" presStyleLbl="revTx" presStyleIdx="1" presStyleCnt="4">
        <dgm:presLayoutVars>
          <dgm:bulletEnabled val="1"/>
        </dgm:presLayoutVars>
      </dgm:prSet>
      <dgm:spPr/>
    </dgm:pt>
    <dgm:pt modelId="{249051EC-F66A-584A-A150-95ED33348B57}" type="pres">
      <dgm:prSet presAssocID="{C1CCB627-1090-BA4B-AF8D-3189971223D0}" presName="sibTrans" presStyleLbl="node1" presStyleIdx="1" presStyleCnt="4"/>
      <dgm:spPr/>
    </dgm:pt>
    <dgm:pt modelId="{875E946C-9A53-EB4A-8A6E-EE28410A1FBE}" type="pres">
      <dgm:prSet presAssocID="{65947C88-E531-4940-B19C-89A94C1CFB76}" presName="dummy" presStyleCnt="0"/>
      <dgm:spPr/>
    </dgm:pt>
    <dgm:pt modelId="{03627AB9-E216-8A4B-A7F7-D323A1EC49D9}" type="pres">
      <dgm:prSet presAssocID="{65947C88-E531-4940-B19C-89A94C1CFB76}" presName="node" presStyleLbl="revTx" presStyleIdx="2" presStyleCnt="4">
        <dgm:presLayoutVars>
          <dgm:bulletEnabled val="1"/>
        </dgm:presLayoutVars>
      </dgm:prSet>
      <dgm:spPr/>
    </dgm:pt>
    <dgm:pt modelId="{E4A922D6-F7F7-4049-B5C5-E7FA4E6CFF15}" type="pres">
      <dgm:prSet presAssocID="{836346A5-5AE6-CD4A-9B88-B2333DA08C01}" presName="sibTrans" presStyleLbl="node1" presStyleIdx="2" presStyleCnt="4"/>
      <dgm:spPr/>
    </dgm:pt>
    <dgm:pt modelId="{328FF0C9-C8E9-7844-82B9-8DEF6433702C}" type="pres">
      <dgm:prSet presAssocID="{540B18D2-E4E9-8949-97E2-FCFF55243BFE}" presName="dummy" presStyleCnt="0"/>
      <dgm:spPr/>
    </dgm:pt>
    <dgm:pt modelId="{825CBC42-BFBF-574B-8254-A9554F009746}" type="pres">
      <dgm:prSet presAssocID="{540B18D2-E4E9-8949-97E2-FCFF55243BFE}" presName="node" presStyleLbl="revTx" presStyleIdx="3" presStyleCnt="4">
        <dgm:presLayoutVars>
          <dgm:bulletEnabled val="1"/>
        </dgm:presLayoutVars>
      </dgm:prSet>
      <dgm:spPr/>
    </dgm:pt>
    <dgm:pt modelId="{A2B32F0D-B48E-4041-ADAB-2883F1B22FDB}" type="pres">
      <dgm:prSet presAssocID="{A14BCAAD-E29B-3E4C-A8B1-884FB66DA62E}" presName="sibTrans" presStyleLbl="node1" presStyleIdx="3" presStyleCnt="4"/>
      <dgm:spPr/>
    </dgm:pt>
  </dgm:ptLst>
  <dgm:cxnLst>
    <dgm:cxn modelId="{F6A2C82A-FB75-434A-B981-763C6E2006BC}" srcId="{A588B9C3-CEB4-E34C-8C52-0058A77A5967}" destId="{F1D14543-F82D-C34D-9668-173C4903971A}" srcOrd="0" destOrd="0" parTransId="{4D57FF92-5D3B-7140-A10D-0ACF4851BE21}" sibTransId="{11B8C323-057B-6441-99A2-317BEEBE35EF}"/>
    <dgm:cxn modelId="{724B1735-9D0A-7D44-B514-58D29ED266C8}" type="presOf" srcId="{65947C88-E531-4940-B19C-89A94C1CFB76}" destId="{03627AB9-E216-8A4B-A7F7-D323A1EC49D9}" srcOrd="0" destOrd="0" presId="urn:microsoft.com/office/officeart/2005/8/layout/cycle1"/>
    <dgm:cxn modelId="{EFD48E41-2338-8D4A-A753-565DF5B7729D}" type="presOf" srcId="{540B18D2-E4E9-8949-97E2-FCFF55243BFE}" destId="{825CBC42-BFBF-574B-8254-A9554F009746}" srcOrd="0" destOrd="0" presId="urn:microsoft.com/office/officeart/2005/8/layout/cycle1"/>
    <dgm:cxn modelId="{81536360-B5E0-9846-AC08-419E17DA8196}" srcId="{A588B9C3-CEB4-E34C-8C52-0058A77A5967}" destId="{65947C88-E531-4940-B19C-89A94C1CFB76}" srcOrd="2" destOrd="0" parTransId="{8EBF483E-D202-7C4D-95A3-6F31F71411D0}" sibTransId="{836346A5-5AE6-CD4A-9B88-B2333DA08C01}"/>
    <dgm:cxn modelId="{C050BD73-4541-F346-97CC-4A8ABB6FA1EE}" srcId="{A588B9C3-CEB4-E34C-8C52-0058A77A5967}" destId="{540B18D2-E4E9-8949-97E2-FCFF55243BFE}" srcOrd="3" destOrd="0" parTransId="{6C946167-0D90-AB48-8A46-B0A37F3B89C3}" sibTransId="{A14BCAAD-E29B-3E4C-A8B1-884FB66DA62E}"/>
    <dgm:cxn modelId="{23C5E19B-CB1B-E549-A753-676D31C9BECC}" type="presOf" srcId="{C1CCB627-1090-BA4B-AF8D-3189971223D0}" destId="{249051EC-F66A-584A-A150-95ED33348B57}" srcOrd="0" destOrd="0" presId="urn:microsoft.com/office/officeart/2005/8/layout/cycle1"/>
    <dgm:cxn modelId="{30C2C8A6-562B-C048-BB7B-175F11CD5CB1}" type="presOf" srcId="{A14BCAAD-E29B-3E4C-A8B1-884FB66DA62E}" destId="{A2B32F0D-B48E-4041-ADAB-2883F1B22FDB}" srcOrd="0" destOrd="0" presId="urn:microsoft.com/office/officeart/2005/8/layout/cycle1"/>
    <dgm:cxn modelId="{0C06F8B1-7424-804A-A947-ADF2F404F1AC}" type="presOf" srcId="{836346A5-5AE6-CD4A-9B88-B2333DA08C01}" destId="{E4A922D6-F7F7-4049-B5C5-E7FA4E6CFF15}" srcOrd="0" destOrd="0" presId="urn:microsoft.com/office/officeart/2005/8/layout/cycle1"/>
    <dgm:cxn modelId="{A59E4FBB-6C2E-9B4B-A303-B444967C109A}" type="presOf" srcId="{A588B9C3-CEB4-E34C-8C52-0058A77A5967}" destId="{7B27746E-D0D9-E64F-A9ED-AB79DBD41883}" srcOrd="0" destOrd="0" presId="urn:microsoft.com/office/officeart/2005/8/layout/cycle1"/>
    <dgm:cxn modelId="{B9AF35CB-C87D-DE42-894B-BA1469862D3D}" type="presOf" srcId="{45BDB10D-D8FF-1B41-95F3-E7C6E32C9832}" destId="{7E9B646F-A801-F04D-9EDB-553A5A3BFCA6}" srcOrd="0" destOrd="0" presId="urn:microsoft.com/office/officeart/2005/8/layout/cycle1"/>
    <dgm:cxn modelId="{665E9DDD-2964-FE46-AF31-CD1A67A9A2D1}" type="presOf" srcId="{11B8C323-057B-6441-99A2-317BEEBE35EF}" destId="{B3CA27BA-A25B-9340-B4F8-A7174A728D9A}" srcOrd="0" destOrd="0" presId="urn:microsoft.com/office/officeart/2005/8/layout/cycle1"/>
    <dgm:cxn modelId="{FA82BCEC-A8AA-D14F-B9CB-A759877B1E91}" srcId="{A588B9C3-CEB4-E34C-8C52-0058A77A5967}" destId="{45BDB10D-D8FF-1B41-95F3-E7C6E32C9832}" srcOrd="1" destOrd="0" parTransId="{7FC090E0-0471-CD47-A4F2-F8AF709FC9F0}" sibTransId="{C1CCB627-1090-BA4B-AF8D-3189971223D0}"/>
    <dgm:cxn modelId="{38FC81F1-2425-C143-B1DD-28E265977888}" type="presOf" srcId="{F1D14543-F82D-C34D-9668-173C4903971A}" destId="{0B4E8802-BF8B-A848-A20A-B295040CFECA}" srcOrd="0" destOrd="0" presId="urn:microsoft.com/office/officeart/2005/8/layout/cycle1"/>
    <dgm:cxn modelId="{F0F3FAE7-7833-4A42-92FD-16AA3037BD4A}" type="presParOf" srcId="{7B27746E-D0D9-E64F-A9ED-AB79DBD41883}" destId="{E7464EE5-05E1-2A4E-AF60-E276E5530F61}" srcOrd="0" destOrd="0" presId="urn:microsoft.com/office/officeart/2005/8/layout/cycle1"/>
    <dgm:cxn modelId="{AFD64949-5CC5-B445-8D3C-662533D2E860}" type="presParOf" srcId="{7B27746E-D0D9-E64F-A9ED-AB79DBD41883}" destId="{0B4E8802-BF8B-A848-A20A-B295040CFECA}" srcOrd="1" destOrd="0" presId="urn:microsoft.com/office/officeart/2005/8/layout/cycle1"/>
    <dgm:cxn modelId="{132D4A9C-E077-1D4D-B272-A60F3A60F7AD}" type="presParOf" srcId="{7B27746E-D0D9-E64F-A9ED-AB79DBD41883}" destId="{B3CA27BA-A25B-9340-B4F8-A7174A728D9A}" srcOrd="2" destOrd="0" presId="urn:microsoft.com/office/officeart/2005/8/layout/cycle1"/>
    <dgm:cxn modelId="{6FF85F76-8808-C548-8F12-76664FF7EAD7}" type="presParOf" srcId="{7B27746E-D0D9-E64F-A9ED-AB79DBD41883}" destId="{1B81FA1F-3AA8-1043-8B93-D900BF74EE87}" srcOrd="3" destOrd="0" presId="urn:microsoft.com/office/officeart/2005/8/layout/cycle1"/>
    <dgm:cxn modelId="{3B898F6B-46B8-F84E-A890-624013660DA5}" type="presParOf" srcId="{7B27746E-D0D9-E64F-A9ED-AB79DBD41883}" destId="{7E9B646F-A801-F04D-9EDB-553A5A3BFCA6}" srcOrd="4" destOrd="0" presId="urn:microsoft.com/office/officeart/2005/8/layout/cycle1"/>
    <dgm:cxn modelId="{79DDA117-05C8-E744-8587-0EA4904082B8}" type="presParOf" srcId="{7B27746E-D0D9-E64F-A9ED-AB79DBD41883}" destId="{249051EC-F66A-584A-A150-95ED33348B57}" srcOrd="5" destOrd="0" presId="urn:microsoft.com/office/officeart/2005/8/layout/cycle1"/>
    <dgm:cxn modelId="{CD5B2514-87F9-E246-92CC-3134EFAA48BA}" type="presParOf" srcId="{7B27746E-D0D9-E64F-A9ED-AB79DBD41883}" destId="{875E946C-9A53-EB4A-8A6E-EE28410A1FBE}" srcOrd="6" destOrd="0" presId="urn:microsoft.com/office/officeart/2005/8/layout/cycle1"/>
    <dgm:cxn modelId="{0486A4C4-6AD4-814B-8F39-BFCD054EA055}" type="presParOf" srcId="{7B27746E-D0D9-E64F-A9ED-AB79DBD41883}" destId="{03627AB9-E216-8A4B-A7F7-D323A1EC49D9}" srcOrd="7" destOrd="0" presId="urn:microsoft.com/office/officeart/2005/8/layout/cycle1"/>
    <dgm:cxn modelId="{C452A437-0391-E14C-BE46-95F7BFB271A0}" type="presParOf" srcId="{7B27746E-D0D9-E64F-A9ED-AB79DBD41883}" destId="{E4A922D6-F7F7-4049-B5C5-E7FA4E6CFF15}" srcOrd="8" destOrd="0" presId="urn:microsoft.com/office/officeart/2005/8/layout/cycle1"/>
    <dgm:cxn modelId="{F8B72F3B-73B0-234A-9B8E-2A848492D1CA}" type="presParOf" srcId="{7B27746E-D0D9-E64F-A9ED-AB79DBD41883}" destId="{328FF0C9-C8E9-7844-82B9-8DEF6433702C}" srcOrd="9" destOrd="0" presId="urn:microsoft.com/office/officeart/2005/8/layout/cycle1"/>
    <dgm:cxn modelId="{1AF018DC-EB07-BC47-8560-C6F971F05502}" type="presParOf" srcId="{7B27746E-D0D9-E64F-A9ED-AB79DBD41883}" destId="{825CBC42-BFBF-574B-8254-A9554F009746}" srcOrd="10" destOrd="0" presId="urn:microsoft.com/office/officeart/2005/8/layout/cycle1"/>
    <dgm:cxn modelId="{8C86E5A7-F318-B943-87B7-4DF434FA1E34}" type="presParOf" srcId="{7B27746E-D0D9-E64F-A9ED-AB79DBD41883}" destId="{A2B32F0D-B48E-4041-ADAB-2883F1B22FDB}" srcOrd="11" destOrd="0" presId="urn:microsoft.com/office/officeart/2005/8/layout/cycle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588B9C3-CEB4-E34C-8C52-0058A77A5967}" type="doc">
      <dgm:prSet loTypeId="urn:microsoft.com/office/officeart/2005/8/layout/cycle1" loCatId="" qsTypeId="urn:microsoft.com/office/officeart/2005/8/quickstyle/simple4" qsCatId="simple" csTypeId="urn:microsoft.com/office/officeart/2005/8/colors/accent1_2" csCatId="accent1" phldr="1"/>
      <dgm:spPr/>
      <dgm:t>
        <a:bodyPr/>
        <a:lstStyle/>
        <a:p>
          <a:endParaRPr lang="en-US"/>
        </a:p>
      </dgm:t>
    </dgm:pt>
    <dgm:pt modelId="{F1D14543-F82D-C34D-9668-173C4903971A}">
      <dgm:prSet phldrT="[Text]"/>
      <dgm:spPr/>
      <dgm:t>
        <a:bodyPr/>
        <a:lstStyle/>
        <a:p>
          <a:r>
            <a:rPr lang="en-US" dirty="0"/>
            <a:t>D</a:t>
          </a:r>
        </a:p>
      </dgm:t>
    </dgm:pt>
    <dgm:pt modelId="{4D57FF92-5D3B-7140-A10D-0ACF4851BE21}" type="parTrans" cxnId="{F6A2C82A-FB75-434A-B981-763C6E2006BC}">
      <dgm:prSet/>
      <dgm:spPr/>
      <dgm:t>
        <a:bodyPr/>
        <a:lstStyle/>
        <a:p>
          <a:endParaRPr lang="en-US"/>
        </a:p>
      </dgm:t>
    </dgm:pt>
    <dgm:pt modelId="{11B8C323-057B-6441-99A2-317BEEBE35EF}" type="sibTrans" cxnId="{F6A2C82A-FB75-434A-B981-763C6E2006BC}">
      <dgm:prSet/>
      <dgm:spPr>
        <a:solidFill>
          <a:schemeClr val="accent1"/>
        </a:solidFill>
        <a:effectLst/>
      </dgm:spPr>
      <dgm:t>
        <a:bodyPr/>
        <a:lstStyle/>
        <a:p>
          <a:endParaRPr lang="en-US"/>
        </a:p>
      </dgm:t>
    </dgm:pt>
    <dgm:pt modelId="{45BDB10D-D8FF-1B41-95F3-E7C6E32C9832}">
      <dgm:prSet phldrT="[Text]"/>
      <dgm:spPr/>
      <dgm:t>
        <a:bodyPr/>
        <a:lstStyle/>
        <a:p>
          <a:r>
            <a:rPr lang="en-US" dirty="0"/>
            <a:t>C</a:t>
          </a:r>
        </a:p>
      </dgm:t>
    </dgm:pt>
    <dgm:pt modelId="{7FC090E0-0471-CD47-A4F2-F8AF709FC9F0}" type="parTrans" cxnId="{FA82BCEC-A8AA-D14F-B9CB-A759877B1E91}">
      <dgm:prSet/>
      <dgm:spPr/>
      <dgm:t>
        <a:bodyPr/>
        <a:lstStyle/>
        <a:p>
          <a:endParaRPr lang="en-US"/>
        </a:p>
      </dgm:t>
    </dgm:pt>
    <dgm:pt modelId="{C1CCB627-1090-BA4B-AF8D-3189971223D0}" type="sibTrans" cxnId="{FA82BCEC-A8AA-D14F-B9CB-A759877B1E91}">
      <dgm:prSet/>
      <dgm:spPr>
        <a:solidFill>
          <a:schemeClr val="accent1"/>
        </a:solidFill>
        <a:effectLst/>
      </dgm:spPr>
      <dgm:t>
        <a:bodyPr/>
        <a:lstStyle/>
        <a:p>
          <a:endParaRPr lang="en-US"/>
        </a:p>
      </dgm:t>
    </dgm:pt>
    <dgm:pt modelId="{65947C88-E531-4940-B19C-89A94C1CFB76}">
      <dgm:prSet phldrT="[Text]"/>
      <dgm:spPr/>
      <dgm:t>
        <a:bodyPr/>
        <a:lstStyle/>
        <a:p>
          <a:r>
            <a:rPr lang="en-US" dirty="0"/>
            <a:t>A</a:t>
          </a:r>
        </a:p>
      </dgm:t>
    </dgm:pt>
    <dgm:pt modelId="{8EBF483E-D202-7C4D-95A3-6F31F71411D0}" type="parTrans" cxnId="{81536360-B5E0-9846-AC08-419E17DA8196}">
      <dgm:prSet/>
      <dgm:spPr/>
      <dgm:t>
        <a:bodyPr/>
        <a:lstStyle/>
        <a:p>
          <a:endParaRPr lang="en-US"/>
        </a:p>
      </dgm:t>
    </dgm:pt>
    <dgm:pt modelId="{836346A5-5AE6-CD4A-9B88-B2333DA08C01}" type="sibTrans" cxnId="{81536360-B5E0-9846-AC08-419E17DA8196}">
      <dgm:prSet/>
      <dgm:spPr>
        <a:solidFill>
          <a:schemeClr val="accent1"/>
        </a:solidFill>
        <a:effectLst/>
      </dgm:spPr>
      <dgm:t>
        <a:bodyPr/>
        <a:lstStyle/>
        <a:p>
          <a:endParaRPr lang="en-US"/>
        </a:p>
      </dgm:t>
    </dgm:pt>
    <dgm:pt modelId="{540B18D2-E4E9-8949-97E2-FCFF55243BFE}">
      <dgm:prSet phldrT="[Text]"/>
      <dgm:spPr/>
      <dgm:t>
        <a:bodyPr/>
        <a:lstStyle/>
        <a:p>
          <a:r>
            <a:rPr lang="en-US" dirty="0"/>
            <a:t>P</a:t>
          </a:r>
        </a:p>
      </dgm:t>
    </dgm:pt>
    <dgm:pt modelId="{6C946167-0D90-AB48-8A46-B0A37F3B89C3}" type="parTrans" cxnId="{C050BD73-4541-F346-97CC-4A8ABB6FA1EE}">
      <dgm:prSet/>
      <dgm:spPr/>
      <dgm:t>
        <a:bodyPr/>
        <a:lstStyle/>
        <a:p>
          <a:endParaRPr lang="en-US"/>
        </a:p>
      </dgm:t>
    </dgm:pt>
    <dgm:pt modelId="{A14BCAAD-E29B-3E4C-A8B1-884FB66DA62E}" type="sibTrans" cxnId="{C050BD73-4541-F346-97CC-4A8ABB6FA1EE}">
      <dgm:prSet/>
      <dgm:spPr>
        <a:solidFill>
          <a:schemeClr val="accent1"/>
        </a:solidFill>
        <a:effectLst/>
      </dgm:spPr>
      <dgm:t>
        <a:bodyPr/>
        <a:lstStyle/>
        <a:p>
          <a:endParaRPr lang="en-US"/>
        </a:p>
      </dgm:t>
    </dgm:pt>
    <dgm:pt modelId="{7B27746E-D0D9-E64F-A9ED-AB79DBD41883}" type="pres">
      <dgm:prSet presAssocID="{A588B9C3-CEB4-E34C-8C52-0058A77A5967}" presName="cycle" presStyleCnt="0">
        <dgm:presLayoutVars>
          <dgm:dir/>
          <dgm:resizeHandles val="exact"/>
        </dgm:presLayoutVars>
      </dgm:prSet>
      <dgm:spPr/>
    </dgm:pt>
    <dgm:pt modelId="{E7464EE5-05E1-2A4E-AF60-E276E5530F61}" type="pres">
      <dgm:prSet presAssocID="{F1D14543-F82D-C34D-9668-173C4903971A}" presName="dummy" presStyleCnt="0"/>
      <dgm:spPr/>
    </dgm:pt>
    <dgm:pt modelId="{0B4E8802-BF8B-A848-A20A-B295040CFECA}" type="pres">
      <dgm:prSet presAssocID="{F1D14543-F82D-C34D-9668-173C4903971A}" presName="node" presStyleLbl="revTx" presStyleIdx="0" presStyleCnt="4">
        <dgm:presLayoutVars>
          <dgm:bulletEnabled val="1"/>
        </dgm:presLayoutVars>
      </dgm:prSet>
      <dgm:spPr/>
    </dgm:pt>
    <dgm:pt modelId="{B3CA27BA-A25B-9340-B4F8-A7174A728D9A}" type="pres">
      <dgm:prSet presAssocID="{11B8C323-057B-6441-99A2-317BEEBE35EF}" presName="sibTrans" presStyleLbl="node1" presStyleIdx="0" presStyleCnt="4"/>
      <dgm:spPr/>
    </dgm:pt>
    <dgm:pt modelId="{1B81FA1F-3AA8-1043-8B93-D900BF74EE87}" type="pres">
      <dgm:prSet presAssocID="{45BDB10D-D8FF-1B41-95F3-E7C6E32C9832}" presName="dummy" presStyleCnt="0"/>
      <dgm:spPr/>
    </dgm:pt>
    <dgm:pt modelId="{7E9B646F-A801-F04D-9EDB-553A5A3BFCA6}" type="pres">
      <dgm:prSet presAssocID="{45BDB10D-D8FF-1B41-95F3-E7C6E32C9832}" presName="node" presStyleLbl="revTx" presStyleIdx="1" presStyleCnt="4">
        <dgm:presLayoutVars>
          <dgm:bulletEnabled val="1"/>
        </dgm:presLayoutVars>
      </dgm:prSet>
      <dgm:spPr/>
    </dgm:pt>
    <dgm:pt modelId="{249051EC-F66A-584A-A150-95ED33348B57}" type="pres">
      <dgm:prSet presAssocID="{C1CCB627-1090-BA4B-AF8D-3189971223D0}" presName="sibTrans" presStyleLbl="node1" presStyleIdx="1" presStyleCnt="4" custLinFactNeighborX="5187"/>
      <dgm:spPr/>
    </dgm:pt>
    <dgm:pt modelId="{875E946C-9A53-EB4A-8A6E-EE28410A1FBE}" type="pres">
      <dgm:prSet presAssocID="{65947C88-E531-4940-B19C-89A94C1CFB76}" presName="dummy" presStyleCnt="0"/>
      <dgm:spPr/>
    </dgm:pt>
    <dgm:pt modelId="{03627AB9-E216-8A4B-A7F7-D323A1EC49D9}" type="pres">
      <dgm:prSet presAssocID="{65947C88-E531-4940-B19C-89A94C1CFB76}" presName="node" presStyleLbl="revTx" presStyleIdx="2" presStyleCnt="4">
        <dgm:presLayoutVars>
          <dgm:bulletEnabled val="1"/>
        </dgm:presLayoutVars>
      </dgm:prSet>
      <dgm:spPr/>
    </dgm:pt>
    <dgm:pt modelId="{E4A922D6-F7F7-4049-B5C5-E7FA4E6CFF15}" type="pres">
      <dgm:prSet presAssocID="{836346A5-5AE6-CD4A-9B88-B2333DA08C01}" presName="sibTrans" presStyleLbl="node1" presStyleIdx="2" presStyleCnt="4"/>
      <dgm:spPr/>
    </dgm:pt>
    <dgm:pt modelId="{328FF0C9-C8E9-7844-82B9-8DEF6433702C}" type="pres">
      <dgm:prSet presAssocID="{540B18D2-E4E9-8949-97E2-FCFF55243BFE}" presName="dummy" presStyleCnt="0"/>
      <dgm:spPr/>
    </dgm:pt>
    <dgm:pt modelId="{825CBC42-BFBF-574B-8254-A9554F009746}" type="pres">
      <dgm:prSet presAssocID="{540B18D2-E4E9-8949-97E2-FCFF55243BFE}" presName="node" presStyleLbl="revTx" presStyleIdx="3" presStyleCnt="4">
        <dgm:presLayoutVars>
          <dgm:bulletEnabled val="1"/>
        </dgm:presLayoutVars>
      </dgm:prSet>
      <dgm:spPr/>
    </dgm:pt>
    <dgm:pt modelId="{A2B32F0D-B48E-4041-ADAB-2883F1B22FDB}" type="pres">
      <dgm:prSet presAssocID="{A14BCAAD-E29B-3E4C-A8B1-884FB66DA62E}" presName="sibTrans" presStyleLbl="node1" presStyleIdx="3" presStyleCnt="4"/>
      <dgm:spPr/>
    </dgm:pt>
  </dgm:ptLst>
  <dgm:cxnLst>
    <dgm:cxn modelId="{D382D927-929F-7F40-B12C-D8E53B991E2A}" type="presOf" srcId="{A14BCAAD-E29B-3E4C-A8B1-884FB66DA62E}" destId="{A2B32F0D-B48E-4041-ADAB-2883F1B22FDB}" srcOrd="0" destOrd="0" presId="urn:microsoft.com/office/officeart/2005/8/layout/cycle1"/>
    <dgm:cxn modelId="{F6A2C82A-FB75-434A-B981-763C6E2006BC}" srcId="{A588B9C3-CEB4-E34C-8C52-0058A77A5967}" destId="{F1D14543-F82D-C34D-9668-173C4903971A}" srcOrd="0" destOrd="0" parTransId="{4D57FF92-5D3B-7140-A10D-0ACF4851BE21}" sibTransId="{11B8C323-057B-6441-99A2-317BEEBE35EF}"/>
    <dgm:cxn modelId="{C53D8E38-80F9-9240-9FF2-C2E5C9BA0B5E}" type="presOf" srcId="{F1D14543-F82D-C34D-9668-173C4903971A}" destId="{0B4E8802-BF8B-A848-A20A-B295040CFECA}" srcOrd="0" destOrd="0" presId="urn:microsoft.com/office/officeart/2005/8/layout/cycle1"/>
    <dgm:cxn modelId="{81536360-B5E0-9846-AC08-419E17DA8196}" srcId="{A588B9C3-CEB4-E34C-8C52-0058A77A5967}" destId="{65947C88-E531-4940-B19C-89A94C1CFB76}" srcOrd="2" destOrd="0" parTransId="{8EBF483E-D202-7C4D-95A3-6F31F71411D0}" sibTransId="{836346A5-5AE6-CD4A-9B88-B2333DA08C01}"/>
    <dgm:cxn modelId="{C050BD73-4541-F346-97CC-4A8ABB6FA1EE}" srcId="{A588B9C3-CEB4-E34C-8C52-0058A77A5967}" destId="{540B18D2-E4E9-8949-97E2-FCFF55243BFE}" srcOrd="3" destOrd="0" parTransId="{6C946167-0D90-AB48-8A46-B0A37F3B89C3}" sibTransId="{A14BCAAD-E29B-3E4C-A8B1-884FB66DA62E}"/>
    <dgm:cxn modelId="{42C2D979-22F0-4949-9BC2-75BA6BB7F79B}" type="presOf" srcId="{11B8C323-057B-6441-99A2-317BEEBE35EF}" destId="{B3CA27BA-A25B-9340-B4F8-A7174A728D9A}" srcOrd="0" destOrd="0" presId="urn:microsoft.com/office/officeart/2005/8/layout/cycle1"/>
    <dgm:cxn modelId="{41319D96-DD54-7847-8206-FAE861CE155D}" type="presOf" srcId="{540B18D2-E4E9-8949-97E2-FCFF55243BFE}" destId="{825CBC42-BFBF-574B-8254-A9554F009746}" srcOrd="0" destOrd="0" presId="urn:microsoft.com/office/officeart/2005/8/layout/cycle1"/>
    <dgm:cxn modelId="{E239CEB3-7C75-974A-92E1-4506987E37F3}" type="presOf" srcId="{45BDB10D-D8FF-1B41-95F3-E7C6E32C9832}" destId="{7E9B646F-A801-F04D-9EDB-553A5A3BFCA6}" srcOrd="0" destOrd="0" presId="urn:microsoft.com/office/officeart/2005/8/layout/cycle1"/>
    <dgm:cxn modelId="{E20647BF-7AC6-9D4B-9612-3485F1223692}" type="presOf" srcId="{65947C88-E531-4940-B19C-89A94C1CFB76}" destId="{03627AB9-E216-8A4B-A7F7-D323A1EC49D9}" srcOrd="0" destOrd="0" presId="urn:microsoft.com/office/officeart/2005/8/layout/cycle1"/>
    <dgm:cxn modelId="{B59640C6-B067-6246-962D-AF6F008C03CD}" type="presOf" srcId="{C1CCB627-1090-BA4B-AF8D-3189971223D0}" destId="{249051EC-F66A-584A-A150-95ED33348B57}" srcOrd="0" destOrd="0" presId="urn:microsoft.com/office/officeart/2005/8/layout/cycle1"/>
    <dgm:cxn modelId="{2A150FCF-8B64-6E44-A4CE-DCFD3DC68979}" type="presOf" srcId="{A588B9C3-CEB4-E34C-8C52-0058A77A5967}" destId="{7B27746E-D0D9-E64F-A9ED-AB79DBD41883}" srcOrd="0" destOrd="0" presId="urn:microsoft.com/office/officeart/2005/8/layout/cycle1"/>
    <dgm:cxn modelId="{FA82BCEC-A8AA-D14F-B9CB-A759877B1E91}" srcId="{A588B9C3-CEB4-E34C-8C52-0058A77A5967}" destId="{45BDB10D-D8FF-1B41-95F3-E7C6E32C9832}" srcOrd="1" destOrd="0" parTransId="{7FC090E0-0471-CD47-A4F2-F8AF709FC9F0}" sibTransId="{C1CCB627-1090-BA4B-AF8D-3189971223D0}"/>
    <dgm:cxn modelId="{41BB18F5-2595-8246-829F-D5FF1B6C9A9B}" type="presOf" srcId="{836346A5-5AE6-CD4A-9B88-B2333DA08C01}" destId="{E4A922D6-F7F7-4049-B5C5-E7FA4E6CFF15}" srcOrd="0" destOrd="0" presId="urn:microsoft.com/office/officeart/2005/8/layout/cycle1"/>
    <dgm:cxn modelId="{C2E7EBB6-6C22-7D49-AD86-89465045F2DF}" type="presParOf" srcId="{7B27746E-D0D9-E64F-A9ED-AB79DBD41883}" destId="{E7464EE5-05E1-2A4E-AF60-E276E5530F61}" srcOrd="0" destOrd="0" presId="urn:microsoft.com/office/officeart/2005/8/layout/cycle1"/>
    <dgm:cxn modelId="{670EEDD1-FD88-7D49-8A39-14877A9CE457}" type="presParOf" srcId="{7B27746E-D0D9-E64F-A9ED-AB79DBD41883}" destId="{0B4E8802-BF8B-A848-A20A-B295040CFECA}" srcOrd="1" destOrd="0" presId="urn:microsoft.com/office/officeart/2005/8/layout/cycle1"/>
    <dgm:cxn modelId="{29D9AA46-BC08-9A47-A5F0-910932625397}" type="presParOf" srcId="{7B27746E-D0D9-E64F-A9ED-AB79DBD41883}" destId="{B3CA27BA-A25B-9340-B4F8-A7174A728D9A}" srcOrd="2" destOrd="0" presId="urn:microsoft.com/office/officeart/2005/8/layout/cycle1"/>
    <dgm:cxn modelId="{9703A6BF-4C61-BF40-9CE3-265D02E01CA5}" type="presParOf" srcId="{7B27746E-D0D9-E64F-A9ED-AB79DBD41883}" destId="{1B81FA1F-3AA8-1043-8B93-D900BF74EE87}" srcOrd="3" destOrd="0" presId="urn:microsoft.com/office/officeart/2005/8/layout/cycle1"/>
    <dgm:cxn modelId="{7082543A-916D-E645-9BE8-E6664E91ACF3}" type="presParOf" srcId="{7B27746E-D0D9-E64F-A9ED-AB79DBD41883}" destId="{7E9B646F-A801-F04D-9EDB-553A5A3BFCA6}" srcOrd="4" destOrd="0" presId="urn:microsoft.com/office/officeart/2005/8/layout/cycle1"/>
    <dgm:cxn modelId="{5790D7D1-557A-BC4B-BC74-FB0474B23B1A}" type="presParOf" srcId="{7B27746E-D0D9-E64F-A9ED-AB79DBD41883}" destId="{249051EC-F66A-584A-A150-95ED33348B57}" srcOrd="5" destOrd="0" presId="urn:microsoft.com/office/officeart/2005/8/layout/cycle1"/>
    <dgm:cxn modelId="{FA880433-0668-694F-920A-83DE2A208A0C}" type="presParOf" srcId="{7B27746E-D0D9-E64F-A9ED-AB79DBD41883}" destId="{875E946C-9A53-EB4A-8A6E-EE28410A1FBE}" srcOrd="6" destOrd="0" presId="urn:microsoft.com/office/officeart/2005/8/layout/cycle1"/>
    <dgm:cxn modelId="{23DE7658-5199-894D-9B06-CEAADC33FA86}" type="presParOf" srcId="{7B27746E-D0D9-E64F-A9ED-AB79DBD41883}" destId="{03627AB9-E216-8A4B-A7F7-D323A1EC49D9}" srcOrd="7" destOrd="0" presId="urn:microsoft.com/office/officeart/2005/8/layout/cycle1"/>
    <dgm:cxn modelId="{DA911AD1-8606-2E4A-9B1A-EE99202F1724}" type="presParOf" srcId="{7B27746E-D0D9-E64F-A9ED-AB79DBD41883}" destId="{E4A922D6-F7F7-4049-B5C5-E7FA4E6CFF15}" srcOrd="8" destOrd="0" presId="urn:microsoft.com/office/officeart/2005/8/layout/cycle1"/>
    <dgm:cxn modelId="{7B954D51-C200-7541-B246-7C2E87226E93}" type="presParOf" srcId="{7B27746E-D0D9-E64F-A9ED-AB79DBD41883}" destId="{328FF0C9-C8E9-7844-82B9-8DEF6433702C}" srcOrd="9" destOrd="0" presId="urn:microsoft.com/office/officeart/2005/8/layout/cycle1"/>
    <dgm:cxn modelId="{BDEACF96-BACE-FC4E-89A1-B34AB102F9BB}" type="presParOf" srcId="{7B27746E-D0D9-E64F-A9ED-AB79DBD41883}" destId="{825CBC42-BFBF-574B-8254-A9554F009746}" srcOrd="10" destOrd="0" presId="urn:microsoft.com/office/officeart/2005/8/layout/cycle1"/>
    <dgm:cxn modelId="{76E2AA9C-9F8A-3D45-9C96-E511E0F6663C}" type="presParOf" srcId="{7B27746E-D0D9-E64F-A9ED-AB79DBD41883}" destId="{A2B32F0D-B48E-4041-ADAB-2883F1B22FDB}" srcOrd="11" destOrd="0" presId="urn:microsoft.com/office/officeart/2005/8/layout/cycle1"/>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588B9C3-CEB4-E34C-8C52-0058A77A5967}" type="doc">
      <dgm:prSet loTypeId="urn:microsoft.com/office/officeart/2005/8/layout/cycle1" loCatId="" qsTypeId="urn:microsoft.com/office/officeart/2005/8/quickstyle/simple4" qsCatId="simple" csTypeId="urn:microsoft.com/office/officeart/2005/8/colors/accent1_2" csCatId="accent1" phldr="1"/>
      <dgm:spPr/>
      <dgm:t>
        <a:bodyPr/>
        <a:lstStyle/>
        <a:p>
          <a:endParaRPr lang="en-US"/>
        </a:p>
      </dgm:t>
    </dgm:pt>
    <dgm:pt modelId="{F1D14543-F82D-C34D-9668-173C4903971A}">
      <dgm:prSet phldrT="[Text]"/>
      <dgm:spPr/>
      <dgm:t>
        <a:bodyPr/>
        <a:lstStyle/>
        <a:p>
          <a:r>
            <a:rPr lang="en-US" dirty="0"/>
            <a:t>D</a:t>
          </a:r>
        </a:p>
      </dgm:t>
    </dgm:pt>
    <dgm:pt modelId="{4D57FF92-5D3B-7140-A10D-0ACF4851BE21}" type="parTrans" cxnId="{F6A2C82A-FB75-434A-B981-763C6E2006BC}">
      <dgm:prSet/>
      <dgm:spPr/>
      <dgm:t>
        <a:bodyPr/>
        <a:lstStyle/>
        <a:p>
          <a:endParaRPr lang="en-US"/>
        </a:p>
      </dgm:t>
    </dgm:pt>
    <dgm:pt modelId="{11B8C323-057B-6441-99A2-317BEEBE35EF}" type="sibTrans" cxnId="{F6A2C82A-FB75-434A-B981-763C6E2006BC}">
      <dgm:prSet/>
      <dgm:spPr>
        <a:solidFill>
          <a:schemeClr val="accent1"/>
        </a:solidFill>
        <a:effectLst/>
      </dgm:spPr>
      <dgm:t>
        <a:bodyPr/>
        <a:lstStyle/>
        <a:p>
          <a:endParaRPr lang="en-US"/>
        </a:p>
      </dgm:t>
    </dgm:pt>
    <dgm:pt modelId="{45BDB10D-D8FF-1B41-95F3-E7C6E32C9832}">
      <dgm:prSet phldrT="[Text]"/>
      <dgm:spPr/>
      <dgm:t>
        <a:bodyPr/>
        <a:lstStyle/>
        <a:p>
          <a:r>
            <a:rPr lang="en-US" dirty="0"/>
            <a:t>C</a:t>
          </a:r>
        </a:p>
      </dgm:t>
    </dgm:pt>
    <dgm:pt modelId="{7FC090E0-0471-CD47-A4F2-F8AF709FC9F0}" type="parTrans" cxnId="{FA82BCEC-A8AA-D14F-B9CB-A759877B1E91}">
      <dgm:prSet/>
      <dgm:spPr/>
      <dgm:t>
        <a:bodyPr/>
        <a:lstStyle/>
        <a:p>
          <a:endParaRPr lang="en-US"/>
        </a:p>
      </dgm:t>
    </dgm:pt>
    <dgm:pt modelId="{C1CCB627-1090-BA4B-AF8D-3189971223D0}" type="sibTrans" cxnId="{FA82BCEC-A8AA-D14F-B9CB-A759877B1E91}">
      <dgm:prSet/>
      <dgm:spPr>
        <a:solidFill>
          <a:schemeClr val="accent1"/>
        </a:solidFill>
        <a:effectLst/>
      </dgm:spPr>
      <dgm:t>
        <a:bodyPr/>
        <a:lstStyle/>
        <a:p>
          <a:endParaRPr lang="en-US"/>
        </a:p>
      </dgm:t>
    </dgm:pt>
    <dgm:pt modelId="{65947C88-E531-4940-B19C-89A94C1CFB76}">
      <dgm:prSet phldrT="[Text]"/>
      <dgm:spPr/>
      <dgm:t>
        <a:bodyPr/>
        <a:lstStyle/>
        <a:p>
          <a:r>
            <a:rPr lang="en-US" dirty="0"/>
            <a:t>A</a:t>
          </a:r>
        </a:p>
      </dgm:t>
    </dgm:pt>
    <dgm:pt modelId="{8EBF483E-D202-7C4D-95A3-6F31F71411D0}" type="parTrans" cxnId="{81536360-B5E0-9846-AC08-419E17DA8196}">
      <dgm:prSet/>
      <dgm:spPr/>
      <dgm:t>
        <a:bodyPr/>
        <a:lstStyle/>
        <a:p>
          <a:endParaRPr lang="en-US"/>
        </a:p>
      </dgm:t>
    </dgm:pt>
    <dgm:pt modelId="{836346A5-5AE6-CD4A-9B88-B2333DA08C01}" type="sibTrans" cxnId="{81536360-B5E0-9846-AC08-419E17DA8196}">
      <dgm:prSet/>
      <dgm:spPr>
        <a:solidFill>
          <a:schemeClr val="accent1"/>
        </a:solidFill>
        <a:effectLst/>
      </dgm:spPr>
      <dgm:t>
        <a:bodyPr/>
        <a:lstStyle/>
        <a:p>
          <a:endParaRPr lang="en-US"/>
        </a:p>
      </dgm:t>
    </dgm:pt>
    <dgm:pt modelId="{540B18D2-E4E9-8949-97E2-FCFF55243BFE}">
      <dgm:prSet phldrT="[Text]"/>
      <dgm:spPr/>
      <dgm:t>
        <a:bodyPr/>
        <a:lstStyle/>
        <a:p>
          <a:r>
            <a:rPr lang="en-US" dirty="0"/>
            <a:t>P</a:t>
          </a:r>
        </a:p>
      </dgm:t>
    </dgm:pt>
    <dgm:pt modelId="{6C946167-0D90-AB48-8A46-B0A37F3B89C3}" type="parTrans" cxnId="{C050BD73-4541-F346-97CC-4A8ABB6FA1EE}">
      <dgm:prSet/>
      <dgm:spPr/>
      <dgm:t>
        <a:bodyPr/>
        <a:lstStyle/>
        <a:p>
          <a:endParaRPr lang="en-US"/>
        </a:p>
      </dgm:t>
    </dgm:pt>
    <dgm:pt modelId="{A14BCAAD-E29B-3E4C-A8B1-884FB66DA62E}" type="sibTrans" cxnId="{C050BD73-4541-F346-97CC-4A8ABB6FA1EE}">
      <dgm:prSet/>
      <dgm:spPr>
        <a:solidFill>
          <a:schemeClr val="accent1"/>
        </a:solidFill>
        <a:effectLst/>
      </dgm:spPr>
      <dgm:t>
        <a:bodyPr/>
        <a:lstStyle/>
        <a:p>
          <a:endParaRPr lang="en-US"/>
        </a:p>
      </dgm:t>
    </dgm:pt>
    <dgm:pt modelId="{7B27746E-D0D9-E64F-A9ED-AB79DBD41883}" type="pres">
      <dgm:prSet presAssocID="{A588B9C3-CEB4-E34C-8C52-0058A77A5967}" presName="cycle" presStyleCnt="0">
        <dgm:presLayoutVars>
          <dgm:dir/>
          <dgm:resizeHandles val="exact"/>
        </dgm:presLayoutVars>
      </dgm:prSet>
      <dgm:spPr/>
    </dgm:pt>
    <dgm:pt modelId="{E7464EE5-05E1-2A4E-AF60-E276E5530F61}" type="pres">
      <dgm:prSet presAssocID="{F1D14543-F82D-C34D-9668-173C4903971A}" presName="dummy" presStyleCnt="0"/>
      <dgm:spPr/>
    </dgm:pt>
    <dgm:pt modelId="{0B4E8802-BF8B-A848-A20A-B295040CFECA}" type="pres">
      <dgm:prSet presAssocID="{F1D14543-F82D-C34D-9668-173C4903971A}" presName="node" presStyleLbl="revTx" presStyleIdx="0" presStyleCnt="4">
        <dgm:presLayoutVars>
          <dgm:bulletEnabled val="1"/>
        </dgm:presLayoutVars>
      </dgm:prSet>
      <dgm:spPr/>
    </dgm:pt>
    <dgm:pt modelId="{B3CA27BA-A25B-9340-B4F8-A7174A728D9A}" type="pres">
      <dgm:prSet presAssocID="{11B8C323-057B-6441-99A2-317BEEBE35EF}" presName="sibTrans" presStyleLbl="node1" presStyleIdx="0" presStyleCnt="4"/>
      <dgm:spPr/>
    </dgm:pt>
    <dgm:pt modelId="{1B81FA1F-3AA8-1043-8B93-D900BF74EE87}" type="pres">
      <dgm:prSet presAssocID="{45BDB10D-D8FF-1B41-95F3-E7C6E32C9832}" presName="dummy" presStyleCnt="0"/>
      <dgm:spPr/>
    </dgm:pt>
    <dgm:pt modelId="{7E9B646F-A801-F04D-9EDB-553A5A3BFCA6}" type="pres">
      <dgm:prSet presAssocID="{45BDB10D-D8FF-1B41-95F3-E7C6E32C9832}" presName="node" presStyleLbl="revTx" presStyleIdx="1" presStyleCnt="4">
        <dgm:presLayoutVars>
          <dgm:bulletEnabled val="1"/>
        </dgm:presLayoutVars>
      </dgm:prSet>
      <dgm:spPr/>
    </dgm:pt>
    <dgm:pt modelId="{249051EC-F66A-584A-A150-95ED33348B57}" type="pres">
      <dgm:prSet presAssocID="{C1CCB627-1090-BA4B-AF8D-3189971223D0}" presName="sibTrans" presStyleLbl="node1" presStyleIdx="1" presStyleCnt="4" custLinFactNeighborX="5187"/>
      <dgm:spPr/>
    </dgm:pt>
    <dgm:pt modelId="{875E946C-9A53-EB4A-8A6E-EE28410A1FBE}" type="pres">
      <dgm:prSet presAssocID="{65947C88-E531-4940-B19C-89A94C1CFB76}" presName="dummy" presStyleCnt="0"/>
      <dgm:spPr/>
    </dgm:pt>
    <dgm:pt modelId="{03627AB9-E216-8A4B-A7F7-D323A1EC49D9}" type="pres">
      <dgm:prSet presAssocID="{65947C88-E531-4940-B19C-89A94C1CFB76}" presName="node" presStyleLbl="revTx" presStyleIdx="2" presStyleCnt="4">
        <dgm:presLayoutVars>
          <dgm:bulletEnabled val="1"/>
        </dgm:presLayoutVars>
      </dgm:prSet>
      <dgm:spPr/>
    </dgm:pt>
    <dgm:pt modelId="{E4A922D6-F7F7-4049-B5C5-E7FA4E6CFF15}" type="pres">
      <dgm:prSet presAssocID="{836346A5-5AE6-CD4A-9B88-B2333DA08C01}" presName="sibTrans" presStyleLbl="node1" presStyleIdx="2" presStyleCnt="4"/>
      <dgm:spPr/>
    </dgm:pt>
    <dgm:pt modelId="{328FF0C9-C8E9-7844-82B9-8DEF6433702C}" type="pres">
      <dgm:prSet presAssocID="{540B18D2-E4E9-8949-97E2-FCFF55243BFE}" presName="dummy" presStyleCnt="0"/>
      <dgm:spPr/>
    </dgm:pt>
    <dgm:pt modelId="{825CBC42-BFBF-574B-8254-A9554F009746}" type="pres">
      <dgm:prSet presAssocID="{540B18D2-E4E9-8949-97E2-FCFF55243BFE}" presName="node" presStyleLbl="revTx" presStyleIdx="3" presStyleCnt="4">
        <dgm:presLayoutVars>
          <dgm:bulletEnabled val="1"/>
        </dgm:presLayoutVars>
      </dgm:prSet>
      <dgm:spPr/>
    </dgm:pt>
    <dgm:pt modelId="{A2B32F0D-B48E-4041-ADAB-2883F1B22FDB}" type="pres">
      <dgm:prSet presAssocID="{A14BCAAD-E29B-3E4C-A8B1-884FB66DA62E}" presName="sibTrans" presStyleLbl="node1" presStyleIdx="3" presStyleCnt="4"/>
      <dgm:spPr/>
    </dgm:pt>
  </dgm:ptLst>
  <dgm:cxnLst>
    <dgm:cxn modelId="{CDE93600-00C8-8847-9756-79F96855EB33}" type="presOf" srcId="{540B18D2-E4E9-8949-97E2-FCFF55243BFE}" destId="{825CBC42-BFBF-574B-8254-A9554F009746}" srcOrd="0" destOrd="0" presId="urn:microsoft.com/office/officeart/2005/8/layout/cycle1"/>
    <dgm:cxn modelId="{1E5BFC10-093B-2944-9E54-349A3B3EBDAC}" type="presOf" srcId="{65947C88-E531-4940-B19C-89A94C1CFB76}" destId="{03627AB9-E216-8A4B-A7F7-D323A1EC49D9}" srcOrd="0" destOrd="0" presId="urn:microsoft.com/office/officeart/2005/8/layout/cycle1"/>
    <dgm:cxn modelId="{F6A2C82A-FB75-434A-B981-763C6E2006BC}" srcId="{A588B9C3-CEB4-E34C-8C52-0058A77A5967}" destId="{F1D14543-F82D-C34D-9668-173C4903971A}" srcOrd="0" destOrd="0" parTransId="{4D57FF92-5D3B-7140-A10D-0ACF4851BE21}" sibTransId="{11B8C323-057B-6441-99A2-317BEEBE35EF}"/>
    <dgm:cxn modelId="{6DC8C852-DD35-F742-B88C-659C4438A2F8}" type="presOf" srcId="{836346A5-5AE6-CD4A-9B88-B2333DA08C01}" destId="{E4A922D6-F7F7-4049-B5C5-E7FA4E6CFF15}" srcOrd="0" destOrd="0" presId="urn:microsoft.com/office/officeart/2005/8/layout/cycle1"/>
    <dgm:cxn modelId="{81536360-B5E0-9846-AC08-419E17DA8196}" srcId="{A588B9C3-CEB4-E34C-8C52-0058A77A5967}" destId="{65947C88-E531-4940-B19C-89A94C1CFB76}" srcOrd="2" destOrd="0" parTransId="{8EBF483E-D202-7C4D-95A3-6F31F71411D0}" sibTransId="{836346A5-5AE6-CD4A-9B88-B2333DA08C01}"/>
    <dgm:cxn modelId="{C050BD73-4541-F346-97CC-4A8ABB6FA1EE}" srcId="{A588B9C3-CEB4-E34C-8C52-0058A77A5967}" destId="{540B18D2-E4E9-8949-97E2-FCFF55243BFE}" srcOrd="3" destOrd="0" parTransId="{6C946167-0D90-AB48-8A46-B0A37F3B89C3}" sibTransId="{A14BCAAD-E29B-3E4C-A8B1-884FB66DA62E}"/>
    <dgm:cxn modelId="{FB4ED291-74D6-814E-AC9F-4D24DC2F91F4}" type="presOf" srcId="{11B8C323-057B-6441-99A2-317BEEBE35EF}" destId="{B3CA27BA-A25B-9340-B4F8-A7174A728D9A}" srcOrd="0" destOrd="0" presId="urn:microsoft.com/office/officeart/2005/8/layout/cycle1"/>
    <dgm:cxn modelId="{EEE9F797-78D1-0B44-9F13-253BD4B30B03}" type="presOf" srcId="{F1D14543-F82D-C34D-9668-173C4903971A}" destId="{0B4E8802-BF8B-A848-A20A-B295040CFECA}" srcOrd="0" destOrd="0" presId="urn:microsoft.com/office/officeart/2005/8/layout/cycle1"/>
    <dgm:cxn modelId="{638870A4-C95F-9246-98D6-95F7602E20DA}" type="presOf" srcId="{C1CCB627-1090-BA4B-AF8D-3189971223D0}" destId="{249051EC-F66A-584A-A150-95ED33348B57}" srcOrd="0" destOrd="0" presId="urn:microsoft.com/office/officeart/2005/8/layout/cycle1"/>
    <dgm:cxn modelId="{1E2115C9-73F2-944D-967F-DC7954771444}" type="presOf" srcId="{A588B9C3-CEB4-E34C-8C52-0058A77A5967}" destId="{7B27746E-D0D9-E64F-A9ED-AB79DBD41883}" srcOrd="0" destOrd="0" presId="urn:microsoft.com/office/officeart/2005/8/layout/cycle1"/>
    <dgm:cxn modelId="{FA82BCEC-A8AA-D14F-B9CB-A759877B1E91}" srcId="{A588B9C3-CEB4-E34C-8C52-0058A77A5967}" destId="{45BDB10D-D8FF-1B41-95F3-E7C6E32C9832}" srcOrd="1" destOrd="0" parTransId="{7FC090E0-0471-CD47-A4F2-F8AF709FC9F0}" sibTransId="{C1CCB627-1090-BA4B-AF8D-3189971223D0}"/>
    <dgm:cxn modelId="{FF8A10ED-740B-D549-B660-6C39F2FF1DFB}" type="presOf" srcId="{45BDB10D-D8FF-1B41-95F3-E7C6E32C9832}" destId="{7E9B646F-A801-F04D-9EDB-553A5A3BFCA6}" srcOrd="0" destOrd="0" presId="urn:microsoft.com/office/officeart/2005/8/layout/cycle1"/>
    <dgm:cxn modelId="{843976FA-8B86-8842-AE5D-99EA39094177}" type="presOf" srcId="{A14BCAAD-E29B-3E4C-A8B1-884FB66DA62E}" destId="{A2B32F0D-B48E-4041-ADAB-2883F1B22FDB}" srcOrd="0" destOrd="0" presId="urn:microsoft.com/office/officeart/2005/8/layout/cycle1"/>
    <dgm:cxn modelId="{8BD802E9-7C31-9245-96B5-2E364C03EBBC}" type="presParOf" srcId="{7B27746E-D0D9-E64F-A9ED-AB79DBD41883}" destId="{E7464EE5-05E1-2A4E-AF60-E276E5530F61}" srcOrd="0" destOrd="0" presId="urn:microsoft.com/office/officeart/2005/8/layout/cycle1"/>
    <dgm:cxn modelId="{6311E906-B81C-9C44-965D-88C29D283E75}" type="presParOf" srcId="{7B27746E-D0D9-E64F-A9ED-AB79DBD41883}" destId="{0B4E8802-BF8B-A848-A20A-B295040CFECA}" srcOrd="1" destOrd="0" presId="urn:microsoft.com/office/officeart/2005/8/layout/cycle1"/>
    <dgm:cxn modelId="{C636F34D-2CD2-004F-8988-FD780C10A081}" type="presParOf" srcId="{7B27746E-D0D9-E64F-A9ED-AB79DBD41883}" destId="{B3CA27BA-A25B-9340-B4F8-A7174A728D9A}" srcOrd="2" destOrd="0" presId="urn:microsoft.com/office/officeart/2005/8/layout/cycle1"/>
    <dgm:cxn modelId="{E8DD3E09-DBBD-B540-AF07-0CBDBF991C55}" type="presParOf" srcId="{7B27746E-D0D9-E64F-A9ED-AB79DBD41883}" destId="{1B81FA1F-3AA8-1043-8B93-D900BF74EE87}" srcOrd="3" destOrd="0" presId="urn:microsoft.com/office/officeart/2005/8/layout/cycle1"/>
    <dgm:cxn modelId="{F62F3ACD-331F-064A-A897-5421E5854BE3}" type="presParOf" srcId="{7B27746E-D0D9-E64F-A9ED-AB79DBD41883}" destId="{7E9B646F-A801-F04D-9EDB-553A5A3BFCA6}" srcOrd="4" destOrd="0" presId="urn:microsoft.com/office/officeart/2005/8/layout/cycle1"/>
    <dgm:cxn modelId="{DE0F4CD6-3E8D-A046-85CC-0880ADD69B3A}" type="presParOf" srcId="{7B27746E-D0D9-E64F-A9ED-AB79DBD41883}" destId="{249051EC-F66A-584A-A150-95ED33348B57}" srcOrd="5" destOrd="0" presId="urn:microsoft.com/office/officeart/2005/8/layout/cycle1"/>
    <dgm:cxn modelId="{B52B3AA2-896F-874D-8ED9-2018522B4098}" type="presParOf" srcId="{7B27746E-D0D9-E64F-A9ED-AB79DBD41883}" destId="{875E946C-9A53-EB4A-8A6E-EE28410A1FBE}" srcOrd="6" destOrd="0" presId="urn:microsoft.com/office/officeart/2005/8/layout/cycle1"/>
    <dgm:cxn modelId="{4BFAA699-06AB-4B41-B364-ECC56AA687A1}" type="presParOf" srcId="{7B27746E-D0D9-E64F-A9ED-AB79DBD41883}" destId="{03627AB9-E216-8A4B-A7F7-D323A1EC49D9}" srcOrd="7" destOrd="0" presId="urn:microsoft.com/office/officeart/2005/8/layout/cycle1"/>
    <dgm:cxn modelId="{B45DF271-66E1-2E4D-8ADA-DBEB74DBF24D}" type="presParOf" srcId="{7B27746E-D0D9-E64F-A9ED-AB79DBD41883}" destId="{E4A922D6-F7F7-4049-B5C5-E7FA4E6CFF15}" srcOrd="8" destOrd="0" presId="urn:microsoft.com/office/officeart/2005/8/layout/cycle1"/>
    <dgm:cxn modelId="{F79A0091-55EB-C945-9D7C-E6C011B3AC40}" type="presParOf" srcId="{7B27746E-D0D9-E64F-A9ED-AB79DBD41883}" destId="{328FF0C9-C8E9-7844-82B9-8DEF6433702C}" srcOrd="9" destOrd="0" presId="urn:microsoft.com/office/officeart/2005/8/layout/cycle1"/>
    <dgm:cxn modelId="{D05B3671-0B5B-DA47-98CC-A71D23D1A591}" type="presParOf" srcId="{7B27746E-D0D9-E64F-A9ED-AB79DBD41883}" destId="{825CBC42-BFBF-574B-8254-A9554F009746}" srcOrd="10" destOrd="0" presId="urn:microsoft.com/office/officeart/2005/8/layout/cycle1"/>
    <dgm:cxn modelId="{1119549C-497B-C543-AC54-4F8B7CEBF362}" type="presParOf" srcId="{7B27746E-D0D9-E64F-A9ED-AB79DBD41883}" destId="{A2B32F0D-B48E-4041-ADAB-2883F1B22FDB}" srcOrd="11" destOrd="0" presId="urn:microsoft.com/office/officeart/2005/8/layout/cycle1"/>
  </dgm:cxnLst>
  <dgm:bg/>
  <dgm:whole/>
  <dgm:extLst>
    <a:ext uri="http://schemas.microsoft.com/office/drawing/2008/diagram">
      <dsp:dataModelExt xmlns:dsp="http://schemas.microsoft.com/office/drawing/2008/diagram" relId="rId18"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A588B9C3-CEB4-E34C-8C52-0058A77A5967}" type="doc">
      <dgm:prSet loTypeId="urn:microsoft.com/office/officeart/2005/8/layout/cycle1" loCatId="" qsTypeId="urn:microsoft.com/office/officeart/2005/8/quickstyle/simple4" qsCatId="simple" csTypeId="urn:microsoft.com/office/officeart/2005/8/colors/accent1_2" csCatId="accent1" phldr="1"/>
      <dgm:spPr/>
      <dgm:t>
        <a:bodyPr/>
        <a:lstStyle/>
        <a:p>
          <a:endParaRPr lang="en-US"/>
        </a:p>
      </dgm:t>
    </dgm:pt>
    <dgm:pt modelId="{F1D14543-F82D-C34D-9668-173C4903971A}">
      <dgm:prSet phldrT="[Text]"/>
      <dgm:spPr/>
      <dgm:t>
        <a:bodyPr/>
        <a:lstStyle/>
        <a:p>
          <a:r>
            <a:rPr lang="en-US" dirty="0"/>
            <a:t>D</a:t>
          </a:r>
        </a:p>
      </dgm:t>
    </dgm:pt>
    <dgm:pt modelId="{4D57FF92-5D3B-7140-A10D-0ACF4851BE21}" type="parTrans" cxnId="{F6A2C82A-FB75-434A-B981-763C6E2006BC}">
      <dgm:prSet/>
      <dgm:spPr/>
      <dgm:t>
        <a:bodyPr/>
        <a:lstStyle/>
        <a:p>
          <a:endParaRPr lang="en-US"/>
        </a:p>
      </dgm:t>
    </dgm:pt>
    <dgm:pt modelId="{11B8C323-057B-6441-99A2-317BEEBE35EF}" type="sibTrans" cxnId="{F6A2C82A-FB75-434A-B981-763C6E2006BC}">
      <dgm:prSet/>
      <dgm:spPr>
        <a:solidFill>
          <a:schemeClr val="accent1"/>
        </a:solidFill>
        <a:effectLst/>
      </dgm:spPr>
      <dgm:t>
        <a:bodyPr/>
        <a:lstStyle/>
        <a:p>
          <a:endParaRPr lang="en-US"/>
        </a:p>
      </dgm:t>
    </dgm:pt>
    <dgm:pt modelId="{45BDB10D-D8FF-1B41-95F3-E7C6E32C9832}">
      <dgm:prSet phldrT="[Text]"/>
      <dgm:spPr/>
      <dgm:t>
        <a:bodyPr/>
        <a:lstStyle/>
        <a:p>
          <a:r>
            <a:rPr lang="en-US" dirty="0"/>
            <a:t>C</a:t>
          </a:r>
        </a:p>
      </dgm:t>
    </dgm:pt>
    <dgm:pt modelId="{7FC090E0-0471-CD47-A4F2-F8AF709FC9F0}" type="parTrans" cxnId="{FA82BCEC-A8AA-D14F-B9CB-A759877B1E91}">
      <dgm:prSet/>
      <dgm:spPr/>
      <dgm:t>
        <a:bodyPr/>
        <a:lstStyle/>
        <a:p>
          <a:endParaRPr lang="en-US"/>
        </a:p>
      </dgm:t>
    </dgm:pt>
    <dgm:pt modelId="{C1CCB627-1090-BA4B-AF8D-3189971223D0}" type="sibTrans" cxnId="{FA82BCEC-A8AA-D14F-B9CB-A759877B1E91}">
      <dgm:prSet/>
      <dgm:spPr>
        <a:solidFill>
          <a:schemeClr val="accent1"/>
        </a:solidFill>
        <a:effectLst/>
      </dgm:spPr>
      <dgm:t>
        <a:bodyPr/>
        <a:lstStyle/>
        <a:p>
          <a:endParaRPr lang="en-US"/>
        </a:p>
      </dgm:t>
    </dgm:pt>
    <dgm:pt modelId="{65947C88-E531-4940-B19C-89A94C1CFB76}">
      <dgm:prSet phldrT="[Text]"/>
      <dgm:spPr/>
      <dgm:t>
        <a:bodyPr/>
        <a:lstStyle/>
        <a:p>
          <a:r>
            <a:rPr lang="en-US" dirty="0"/>
            <a:t>A</a:t>
          </a:r>
        </a:p>
      </dgm:t>
    </dgm:pt>
    <dgm:pt modelId="{8EBF483E-D202-7C4D-95A3-6F31F71411D0}" type="parTrans" cxnId="{81536360-B5E0-9846-AC08-419E17DA8196}">
      <dgm:prSet/>
      <dgm:spPr/>
      <dgm:t>
        <a:bodyPr/>
        <a:lstStyle/>
        <a:p>
          <a:endParaRPr lang="en-US"/>
        </a:p>
      </dgm:t>
    </dgm:pt>
    <dgm:pt modelId="{836346A5-5AE6-CD4A-9B88-B2333DA08C01}" type="sibTrans" cxnId="{81536360-B5E0-9846-AC08-419E17DA8196}">
      <dgm:prSet/>
      <dgm:spPr>
        <a:solidFill>
          <a:schemeClr val="accent1"/>
        </a:solidFill>
        <a:effectLst/>
      </dgm:spPr>
      <dgm:t>
        <a:bodyPr/>
        <a:lstStyle/>
        <a:p>
          <a:endParaRPr lang="en-US"/>
        </a:p>
      </dgm:t>
    </dgm:pt>
    <dgm:pt modelId="{540B18D2-E4E9-8949-97E2-FCFF55243BFE}">
      <dgm:prSet phldrT="[Text]"/>
      <dgm:spPr/>
      <dgm:t>
        <a:bodyPr/>
        <a:lstStyle/>
        <a:p>
          <a:r>
            <a:rPr lang="en-US" dirty="0"/>
            <a:t>P</a:t>
          </a:r>
        </a:p>
      </dgm:t>
    </dgm:pt>
    <dgm:pt modelId="{6C946167-0D90-AB48-8A46-B0A37F3B89C3}" type="parTrans" cxnId="{C050BD73-4541-F346-97CC-4A8ABB6FA1EE}">
      <dgm:prSet/>
      <dgm:spPr/>
      <dgm:t>
        <a:bodyPr/>
        <a:lstStyle/>
        <a:p>
          <a:endParaRPr lang="en-US"/>
        </a:p>
      </dgm:t>
    </dgm:pt>
    <dgm:pt modelId="{A14BCAAD-E29B-3E4C-A8B1-884FB66DA62E}" type="sibTrans" cxnId="{C050BD73-4541-F346-97CC-4A8ABB6FA1EE}">
      <dgm:prSet/>
      <dgm:spPr>
        <a:solidFill>
          <a:schemeClr val="accent1"/>
        </a:solidFill>
        <a:effectLst/>
      </dgm:spPr>
      <dgm:t>
        <a:bodyPr/>
        <a:lstStyle/>
        <a:p>
          <a:endParaRPr lang="en-US"/>
        </a:p>
      </dgm:t>
    </dgm:pt>
    <dgm:pt modelId="{7B27746E-D0D9-E64F-A9ED-AB79DBD41883}" type="pres">
      <dgm:prSet presAssocID="{A588B9C3-CEB4-E34C-8C52-0058A77A5967}" presName="cycle" presStyleCnt="0">
        <dgm:presLayoutVars>
          <dgm:dir/>
          <dgm:resizeHandles val="exact"/>
        </dgm:presLayoutVars>
      </dgm:prSet>
      <dgm:spPr/>
    </dgm:pt>
    <dgm:pt modelId="{E7464EE5-05E1-2A4E-AF60-E276E5530F61}" type="pres">
      <dgm:prSet presAssocID="{F1D14543-F82D-C34D-9668-173C4903971A}" presName="dummy" presStyleCnt="0"/>
      <dgm:spPr/>
    </dgm:pt>
    <dgm:pt modelId="{0B4E8802-BF8B-A848-A20A-B295040CFECA}" type="pres">
      <dgm:prSet presAssocID="{F1D14543-F82D-C34D-9668-173C4903971A}" presName="node" presStyleLbl="revTx" presStyleIdx="0" presStyleCnt="4">
        <dgm:presLayoutVars>
          <dgm:bulletEnabled val="1"/>
        </dgm:presLayoutVars>
      </dgm:prSet>
      <dgm:spPr/>
    </dgm:pt>
    <dgm:pt modelId="{B3CA27BA-A25B-9340-B4F8-A7174A728D9A}" type="pres">
      <dgm:prSet presAssocID="{11B8C323-057B-6441-99A2-317BEEBE35EF}" presName="sibTrans" presStyleLbl="node1" presStyleIdx="0" presStyleCnt="4"/>
      <dgm:spPr/>
    </dgm:pt>
    <dgm:pt modelId="{1B81FA1F-3AA8-1043-8B93-D900BF74EE87}" type="pres">
      <dgm:prSet presAssocID="{45BDB10D-D8FF-1B41-95F3-E7C6E32C9832}" presName="dummy" presStyleCnt="0"/>
      <dgm:spPr/>
    </dgm:pt>
    <dgm:pt modelId="{7E9B646F-A801-F04D-9EDB-553A5A3BFCA6}" type="pres">
      <dgm:prSet presAssocID="{45BDB10D-D8FF-1B41-95F3-E7C6E32C9832}" presName="node" presStyleLbl="revTx" presStyleIdx="1" presStyleCnt="4">
        <dgm:presLayoutVars>
          <dgm:bulletEnabled val="1"/>
        </dgm:presLayoutVars>
      </dgm:prSet>
      <dgm:spPr/>
    </dgm:pt>
    <dgm:pt modelId="{249051EC-F66A-584A-A150-95ED33348B57}" type="pres">
      <dgm:prSet presAssocID="{C1CCB627-1090-BA4B-AF8D-3189971223D0}" presName="sibTrans" presStyleLbl="node1" presStyleIdx="1" presStyleCnt="4" custLinFactNeighborX="5187"/>
      <dgm:spPr/>
    </dgm:pt>
    <dgm:pt modelId="{875E946C-9A53-EB4A-8A6E-EE28410A1FBE}" type="pres">
      <dgm:prSet presAssocID="{65947C88-E531-4940-B19C-89A94C1CFB76}" presName="dummy" presStyleCnt="0"/>
      <dgm:spPr/>
    </dgm:pt>
    <dgm:pt modelId="{03627AB9-E216-8A4B-A7F7-D323A1EC49D9}" type="pres">
      <dgm:prSet presAssocID="{65947C88-E531-4940-B19C-89A94C1CFB76}" presName="node" presStyleLbl="revTx" presStyleIdx="2" presStyleCnt="4">
        <dgm:presLayoutVars>
          <dgm:bulletEnabled val="1"/>
        </dgm:presLayoutVars>
      </dgm:prSet>
      <dgm:spPr/>
    </dgm:pt>
    <dgm:pt modelId="{E4A922D6-F7F7-4049-B5C5-E7FA4E6CFF15}" type="pres">
      <dgm:prSet presAssocID="{836346A5-5AE6-CD4A-9B88-B2333DA08C01}" presName="sibTrans" presStyleLbl="node1" presStyleIdx="2" presStyleCnt="4"/>
      <dgm:spPr/>
    </dgm:pt>
    <dgm:pt modelId="{328FF0C9-C8E9-7844-82B9-8DEF6433702C}" type="pres">
      <dgm:prSet presAssocID="{540B18D2-E4E9-8949-97E2-FCFF55243BFE}" presName="dummy" presStyleCnt="0"/>
      <dgm:spPr/>
    </dgm:pt>
    <dgm:pt modelId="{825CBC42-BFBF-574B-8254-A9554F009746}" type="pres">
      <dgm:prSet presAssocID="{540B18D2-E4E9-8949-97E2-FCFF55243BFE}" presName="node" presStyleLbl="revTx" presStyleIdx="3" presStyleCnt="4">
        <dgm:presLayoutVars>
          <dgm:bulletEnabled val="1"/>
        </dgm:presLayoutVars>
      </dgm:prSet>
      <dgm:spPr/>
    </dgm:pt>
    <dgm:pt modelId="{A2B32F0D-B48E-4041-ADAB-2883F1B22FDB}" type="pres">
      <dgm:prSet presAssocID="{A14BCAAD-E29B-3E4C-A8B1-884FB66DA62E}" presName="sibTrans" presStyleLbl="node1" presStyleIdx="3" presStyleCnt="4"/>
      <dgm:spPr/>
    </dgm:pt>
  </dgm:ptLst>
  <dgm:cxnLst>
    <dgm:cxn modelId="{31373D08-3EA6-5F49-9D27-C0C8F57EC599}" type="presOf" srcId="{C1CCB627-1090-BA4B-AF8D-3189971223D0}" destId="{249051EC-F66A-584A-A150-95ED33348B57}" srcOrd="0" destOrd="0" presId="urn:microsoft.com/office/officeart/2005/8/layout/cycle1"/>
    <dgm:cxn modelId="{11CCC009-3B4E-E745-8B48-F07756A51E98}" type="presOf" srcId="{45BDB10D-D8FF-1B41-95F3-E7C6E32C9832}" destId="{7E9B646F-A801-F04D-9EDB-553A5A3BFCA6}" srcOrd="0" destOrd="0" presId="urn:microsoft.com/office/officeart/2005/8/layout/cycle1"/>
    <dgm:cxn modelId="{7E94901C-6FE2-CA42-949D-BC72B8ED2FC9}" type="presOf" srcId="{540B18D2-E4E9-8949-97E2-FCFF55243BFE}" destId="{825CBC42-BFBF-574B-8254-A9554F009746}" srcOrd="0" destOrd="0" presId="urn:microsoft.com/office/officeart/2005/8/layout/cycle1"/>
    <dgm:cxn modelId="{C6F6B11C-749F-3E46-8986-772640BB2882}" type="presOf" srcId="{11B8C323-057B-6441-99A2-317BEEBE35EF}" destId="{B3CA27BA-A25B-9340-B4F8-A7174A728D9A}" srcOrd="0" destOrd="0" presId="urn:microsoft.com/office/officeart/2005/8/layout/cycle1"/>
    <dgm:cxn modelId="{F6A2C82A-FB75-434A-B981-763C6E2006BC}" srcId="{A588B9C3-CEB4-E34C-8C52-0058A77A5967}" destId="{F1D14543-F82D-C34D-9668-173C4903971A}" srcOrd="0" destOrd="0" parTransId="{4D57FF92-5D3B-7140-A10D-0ACF4851BE21}" sibTransId="{11B8C323-057B-6441-99A2-317BEEBE35EF}"/>
    <dgm:cxn modelId="{9C2B1732-4A05-A849-B15C-B097E161B329}" type="presOf" srcId="{65947C88-E531-4940-B19C-89A94C1CFB76}" destId="{03627AB9-E216-8A4B-A7F7-D323A1EC49D9}" srcOrd="0" destOrd="0" presId="urn:microsoft.com/office/officeart/2005/8/layout/cycle1"/>
    <dgm:cxn modelId="{9887C45A-9ED0-834D-BE2C-8E4A808CCE3B}" type="presOf" srcId="{836346A5-5AE6-CD4A-9B88-B2333DA08C01}" destId="{E4A922D6-F7F7-4049-B5C5-E7FA4E6CFF15}" srcOrd="0" destOrd="0" presId="urn:microsoft.com/office/officeart/2005/8/layout/cycle1"/>
    <dgm:cxn modelId="{81536360-B5E0-9846-AC08-419E17DA8196}" srcId="{A588B9C3-CEB4-E34C-8C52-0058A77A5967}" destId="{65947C88-E531-4940-B19C-89A94C1CFB76}" srcOrd="2" destOrd="0" parTransId="{8EBF483E-D202-7C4D-95A3-6F31F71411D0}" sibTransId="{836346A5-5AE6-CD4A-9B88-B2333DA08C01}"/>
    <dgm:cxn modelId="{8CEC7866-369D-0248-8FC9-C5D575BAD019}" type="presOf" srcId="{A14BCAAD-E29B-3E4C-A8B1-884FB66DA62E}" destId="{A2B32F0D-B48E-4041-ADAB-2883F1B22FDB}" srcOrd="0" destOrd="0" presId="urn:microsoft.com/office/officeart/2005/8/layout/cycle1"/>
    <dgm:cxn modelId="{C050BD73-4541-F346-97CC-4A8ABB6FA1EE}" srcId="{A588B9C3-CEB4-E34C-8C52-0058A77A5967}" destId="{540B18D2-E4E9-8949-97E2-FCFF55243BFE}" srcOrd="3" destOrd="0" parTransId="{6C946167-0D90-AB48-8A46-B0A37F3B89C3}" sibTransId="{A14BCAAD-E29B-3E4C-A8B1-884FB66DA62E}"/>
    <dgm:cxn modelId="{8974287A-5C7E-674B-A621-6E971B324B81}" type="presOf" srcId="{A588B9C3-CEB4-E34C-8C52-0058A77A5967}" destId="{7B27746E-D0D9-E64F-A9ED-AB79DBD41883}" srcOrd="0" destOrd="0" presId="urn:microsoft.com/office/officeart/2005/8/layout/cycle1"/>
    <dgm:cxn modelId="{FA82BCEC-A8AA-D14F-B9CB-A759877B1E91}" srcId="{A588B9C3-CEB4-E34C-8C52-0058A77A5967}" destId="{45BDB10D-D8FF-1B41-95F3-E7C6E32C9832}" srcOrd="1" destOrd="0" parTransId="{7FC090E0-0471-CD47-A4F2-F8AF709FC9F0}" sibTransId="{C1CCB627-1090-BA4B-AF8D-3189971223D0}"/>
    <dgm:cxn modelId="{8E9D9AF8-41AD-0643-A001-20C59781F51C}" type="presOf" srcId="{F1D14543-F82D-C34D-9668-173C4903971A}" destId="{0B4E8802-BF8B-A848-A20A-B295040CFECA}" srcOrd="0" destOrd="0" presId="urn:microsoft.com/office/officeart/2005/8/layout/cycle1"/>
    <dgm:cxn modelId="{300FE171-4A51-2941-8CDB-CC24E9CD6747}" type="presParOf" srcId="{7B27746E-D0D9-E64F-A9ED-AB79DBD41883}" destId="{E7464EE5-05E1-2A4E-AF60-E276E5530F61}" srcOrd="0" destOrd="0" presId="urn:microsoft.com/office/officeart/2005/8/layout/cycle1"/>
    <dgm:cxn modelId="{B77FF98E-D21B-A347-81C9-394472E6EE6E}" type="presParOf" srcId="{7B27746E-D0D9-E64F-A9ED-AB79DBD41883}" destId="{0B4E8802-BF8B-A848-A20A-B295040CFECA}" srcOrd="1" destOrd="0" presId="urn:microsoft.com/office/officeart/2005/8/layout/cycle1"/>
    <dgm:cxn modelId="{857C645F-28D9-3944-BFD6-B91473216FD1}" type="presParOf" srcId="{7B27746E-D0D9-E64F-A9ED-AB79DBD41883}" destId="{B3CA27BA-A25B-9340-B4F8-A7174A728D9A}" srcOrd="2" destOrd="0" presId="urn:microsoft.com/office/officeart/2005/8/layout/cycle1"/>
    <dgm:cxn modelId="{2FABA070-9C5D-8743-9A19-B25F2043175E}" type="presParOf" srcId="{7B27746E-D0D9-E64F-A9ED-AB79DBD41883}" destId="{1B81FA1F-3AA8-1043-8B93-D900BF74EE87}" srcOrd="3" destOrd="0" presId="urn:microsoft.com/office/officeart/2005/8/layout/cycle1"/>
    <dgm:cxn modelId="{980D97B8-362A-C64A-A59F-732BF7A8D337}" type="presParOf" srcId="{7B27746E-D0D9-E64F-A9ED-AB79DBD41883}" destId="{7E9B646F-A801-F04D-9EDB-553A5A3BFCA6}" srcOrd="4" destOrd="0" presId="urn:microsoft.com/office/officeart/2005/8/layout/cycle1"/>
    <dgm:cxn modelId="{E60F4411-D330-DA45-8B02-F840BD87C693}" type="presParOf" srcId="{7B27746E-D0D9-E64F-A9ED-AB79DBD41883}" destId="{249051EC-F66A-584A-A150-95ED33348B57}" srcOrd="5" destOrd="0" presId="urn:microsoft.com/office/officeart/2005/8/layout/cycle1"/>
    <dgm:cxn modelId="{060BA751-2A4B-E546-BB02-EDE3C6A9CE9F}" type="presParOf" srcId="{7B27746E-D0D9-E64F-A9ED-AB79DBD41883}" destId="{875E946C-9A53-EB4A-8A6E-EE28410A1FBE}" srcOrd="6" destOrd="0" presId="urn:microsoft.com/office/officeart/2005/8/layout/cycle1"/>
    <dgm:cxn modelId="{2E99C2BA-15B1-BE41-BFB4-6C32C5B24782}" type="presParOf" srcId="{7B27746E-D0D9-E64F-A9ED-AB79DBD41883}" destId="{03627AB9-E216-8A4B-A7F7-D323A1EC49D9}" srcOrd="7" destOrd="0" presId="urn:microsoft.com/office/officeart/2005/8/layout/cycle1"/>
    <dgm:cxn modelId="{0EBB84DB-6F22-7948-9FF7-6BEA6BB3D919}" type="presParOf" srcId="{7B27746E-D0D9-E64F-A9ED-AB79DBD41883}" destId="{E4A922D6-F7F7-4049-B5C5-E7FA4E6CFF15}" srcOrd="8" destOrd="0" presId="urn:microsoft.com/office/officeart/2005/8/layout/cycle1"/>
    <dgm:cxn modelId="{5D2E6D45-18D7-9E4E-912B-49AFEBB6D1FA}" type="presParOf" srcId="{7B27746E-D0D9-E64F-A9ED-AB79DBD41883}" destId="{328FF0C9-C8E9-7844-82B9-8DEF6433702C}" srcOrd="9" destOrd="0" presId="urn:microsoft.com/office/officeart/2005/8/layout/cycle1"/>
    <dgm:cxn modelId="{7F9FC9A6-E28E-D84D-A824-212544FCCB16}" type="presParOf" srcId="{7B27746E-D0D9-E64F-A9ED-AB79DBD41883}" destId="{825CBC42-BFBF-574B-8254-A9554F009746}" srcOrd="10" destOrd="0" presId="urn:microsoft.com/office/officeart/2005/8/layout/cycle1"/>
    <dgm:cxn modelId="{C2CD80D6-9136-A844-AE8F-88A8690C5A25}" type="presParOf" srcId="{7B27746E-D0D9-E64F-A9ED-AB79DBD41883}" destId="{A2B32F0D-B48E-4041-ADAB-2883F1B22FDB}" srcOrd="11" destOrd="0" presId="urn:microsoft.com/office/officeart/2005/8/layout/cycle1"/>
  </dgm:cxnLst>
  <dgm:bg/>
  <dgm:whole/>
  <dgm:extLst>
    <a:ext uri="http://schemas.microsoft.com/office/drawing/2008/diagram">
      <dsp:dataModelExt xmlns:dsp="http://schemas.microsoft.com/office/drawing/2008/diagram" relId="rId23"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A588B9C3-CEB4-E34C-8C52-0058A77A5967}" type="doc">
      <dgm:prSet loTypeId="urn:microsoft.com/office/officeart/2005/8/layout/cycle1" loCatId="" qsTypeId="urn:microsoft.com/office/officeart/2005/8/quickstyle/simple4" qsCatId="simple" csTypeId="urn:microsoft.com/office/officeart/2005/8/colors/accent1_2" csCatId="accent1" phldr="1"/>
      <dgm:spPr/>
      <dgm:t>
        <a:bodyPr/>
        <a:lstStyle/>
        <a:p>
          <a:endParaRPr lang="en-US"/>
        </a:p>
      </dgm:t>
    </dgm:pt>
    <dgm:pt modelId="{F1D14543-F82D-C34D-9668-173C4903971A}">
      <dgm:prSet phldrT="[Text]"/>
      <dgm:spPr/>
      <dgm:t>
        <a:bodyPr/>
        <a:lstStyle/>
        <a:p>
          <a:r>
            <a:rPr lang="en-US" dirty="0"/>
            <a:t>D</a:t>
          </a:r>
        </a:p>
      </dgm:t>
    </dgm:pt>
    <dgm:pt modelId="{4D57FF92-5D3B-7140-A10D-0ACF4851BE21}" type="parTrans" cxnId="{F6A2C82A-FB75-434A-B981-763C6E2006BC}">
      <dgm:prSet/>
      <dgm:spPr/>
      <dgm:t>
        <a:bodyPr/>
        <a:lstStyle/>
        <a:p>
          <a:endParaRPr lang="en-US"/>
        </a:p>
      </dgm:t>
    </dgm:pt>
    <dgm:pt modelId="{11B8C323-057B-6441-99A2-317BEEBE35EF}" type="sibTrans" cxnId="{F6A2C82A-FB75-434A-B981-763C6E2006BC}">
      <dgm:prSet/>
      <dgm:spPr>
        <a:solidFill>
          <a:schemeClr val="accent1"/>
        </a:solidFill>
        <a:effectLst/>
      </dgm:spPr>
      <dgm:t>
        <a:bodyPr/>
        <a:lstStyle/>
        <a:p>
          <a:endParaRPr lang="en-US"/>
        </a:p>
      </dgm:t>
    </dgm:pt>
    <dgm:pt modelId="{45BDB10D-D8FF-1B41-95F3-E7C6E32C9832}">
      <dgm:prSet phldrT="[Text]"/>
      <dgm:spPr/>
      <dgm:t>
        <a:bodyPr/>
        <a:lstStyle/>
        <a:p>
          <a:r>
            <a:rPr lang="en-US" dirty="0"/>
            <a:t>C</a:t>
          </a:r>
        </a:p>
      </dgm:t>
    </dgm:pt>
    <dgm:pt modelId="{7FC090E0-0471-CD47-A4F2-F8AF709FC9F0}" type="parTrans" cxnId="{FA82BCEC-A8AA-D14F-B9CB-A759877B1E91}">
      <dgm:prSet/>
      <dgm:spPr/>
      <dgm:t>
        <a:bodyPr/>
        <a:lstStyle/>
        <a:p>
          <a:endParaRPr lang="en-US"/>
        </a:p>
      </dgm:t>
    </dgm:pt>
    <dgm:pt modelId="{C1CCB627-1090-BA4B-AF8D-3189971223D0}" type="sibTrans" cxnId="{FA82BCEC-A8AA-D14F-B9CB-A759877B1E91}">
      <dgm:prSet/>
      <dgm:spPr>
        <a:solidFill>
          <a:schemeClr val="accent1"/>
        </a:solidFill>
        <a:effectLst/>
      </dgm:spPr>
      <dgm:t>
        <a:bodyPr/>
        <a:lstStyle/>
        <a:p>
          <a:endParaRPr lang="en-US"/>
        </a:p>
      </dgm:t>
    </dgm:pt>
    <dgm:pt modelId="{65947C88-E531-4940-B19C-89A94C1CFB76}">
      <dgm:prSet phldrT="[Text]"/>
      <dgm:spPr/>
      <dgm:t>
        <a:bodyPr/>
        <a:lstStyle/>
        <a:p>
          <a:r>
            <a:rPr lang="en-US" dirty="0"/>
            <a:t>A</a:t>
          </a:r>
        </a:p>
      </dgm:t>
    </dgm:pt>
    <dgm:pt modelId="{8EBF483E-D202-7C4D-95A3-6F31F71411D0}" type="parTrans" cxnId="{81536360-B5E0-9846-AC08-419E17DA8196}">
      <dgm:prSet/>
      <dgm:spPr/>
      <dgm:t>
        <a:bodyPr/>
        <a:lstStyle/>
        <a:p>
          <a:endParaRPr lang="en-US"/>
        </a:p>
      </dgm:t>
    </dgm:pt>
    <dgm:pt modelId="{836346A5-5AE6-CD4A-9B88-B2333DA08C01}" type="sibTrans" cxnId="{81536360-B5E0-9846-AC08-419E17DA8196}">
      <dgm:prSet/>
      <dgm:spPr>
        <a:solidFill>
          <a:schemeClr val="accent1"/>
        </a:solidFill>
        <a:effectLst/>
      </dgm:spPr>
      <dgm:t>
        <a:bodyPr/>
        <a:lstStyle/>
        <a:p>
          <a:endParaRPr lang="en-US"/>
        </a:p>
      </dgm:t>
    </dgm:pt>
    <dgm:pt modelId="{540B18D2-E4E9-8949-97E2-FCFF55243BFE}">
      <dgm:prSet phldrT="[Text]"/>
      <dgm:spPr/>
      <dgm:t>
        <a:bodyPr/>
        <a:lstStyle/>
        <a:p>
          <a:r>
            <a:rPr lang="en-US" dirty="0"/>
            <a:t>P</a:t>
          </a:r>
        </a:p>
      </dgm:t>
    </dgm:pt>
    <dgm:pt modelId="{6C946167-0D90-AB48-8A46-B0A37F3B89C3}" type="parTrans" cxnId="{C050BD73-4541-F346-97CC-4A8ABB6FA1EE}">
      <dgm:prSet/>
      <dgm:spPr/>
      <dgm:t>
        <a:bodyPr/>
        <a:lstStyle/>
        <a:p>
          <a:endParaRPr lang="en-US"/>
        </a:p>
      </dgm:t>
    </dgm:pt>
    <dgm:pt modelId="{A14BCAAD-E29B-3E4C-A8B1-884FB66DA62E}" type="sibTrans" cxnId="{C050BD73-4541-F346-97CC-4A8ABB6FA1EE}">
      <dgm:prSet/>
      <dgm:spPr>
        <a:solidFill>
          <a:schemeClr val="accent1"/>
        </a:solidFill>
        <a:effectLst/>
      </dgm:spPr>
      <dgm:t>
        <a:bodyPr/>
        <a:lstStyle/>
        <a:p>
          <a:endParaRPr lang="en-US"/>
        </a:p>
      </dgm:t>
    </dgm:pt>
    <dgm:pt modelId="{7B27746E-D0D9-E64F-A9ED-AB79DBD41883}" type="pres">
      <dgm:prSet presAssocID="{A588B9C3-CEB4-E34C-8C52-0058A77A5967}" presName="cycle" presStyleCnt="0">
        <dgm:presLayoutVars>
          <dgm:dir/>
          <dgm:resizeHandles val="exact"/>
        </dgm:presLayoutVars>
      </dgm:prSet>
      <dgm:spPr/>
    </dgm:pt>
    <dgm:pt modelId="{E7464EE5-05E1-2A4E-AF60-E276E5530F61}" type="pres">
      <dgm:prSet presAssocID="{F1D14543-F82D-C34D-9668-173C4903971A}" presName="dummy" presStyleCnt="0"/>
      <dgm:spPr/>
    </dgm:pt>
    <dgm:pt modelId="{0B4E8802-BF8B-A848-A20A-B295040CFECA}" type="pres">
      <dgm:prSet presAssocID="{F1D14543-F82D-C34D-9668-173C4903971A}" presName="node" presStyleLbl="revTx" presStyleIdx="0" presStyleCnt="4">
        <dgm:presLayoutVars>
          <dgm:bulletEnabled val="1"/>
        </dgm:presLayoutVars>
      </dgm:prSet>
      <dgm:spPr/>
    </dgm:pt>
    <dgm:pt modelId="{B3CA27BA-A25B-9340-B4F8-A7174A728D9A}" type="pres">
      <dgm:prSet presAssocID="{11B8C323-057B-6441-99A2-317BEEBE35EF}" presName="sibTrans" presStyleLbl="node1" presStyleIdx="0" presStyleCnt="4"/>
      <dgm:spPr/>
    </dgm:pt>
    <dgm:pt modelId="{1B81FA1F-3AA8-1043-8B93-D900BF74EE87}" type="pres">
      <dgm:prSet presAssocID="{45BDB10D-D8FF-1B41-95F3-E7C6E32C9832}" presName="dummy" presStyleCnt="0"/>
      <dgm:spPr/>
    </dgm:pt>
    <dgm:pt modelId="{7E9B646F-A801-F04D-9EDB-553A5A3BFCA6}" type="pres">
      <dgm:prSet presAssocID="{45BDB10D-D8FF-1B41-95F3-E7C6E32C9832}" presName="node" presStyleLbl="revTx" presStyleIdx="1" presStyleCnt="4">
        <dgm:presLayoutVars>
          <dgm:bulletEnabled val="1"/>
        </dgm:presLayoutVars>
      </dgm:prSet>
      <dgm:spPr/>
    </dgm:pt>
    <dgm:pt modelId="{249051EC-F66A-584A-A150-95ED33348B57}" type="pres">
      <dgm:prSet presAssocID="{C1CCB627-1090-BA4B-AF8D-3189971223D0}" presName="sibTrans" presStyleLbl="node1" presStyleIdx="1" presStyleCnt="4" custLinFactNeighborX="5187"/>
      <dgm:spPr/>
    </dgm:pt>
    <dgm:pt modelId="{875E946C-9A53-EB4A-8A6E-EE28410A1FBE}" type="pres">
      <dgm:prSet presAssocID="{65947C88-E531-4940-B19C-89A94C1CFB76}" presName="dummy" presStyleCnt="0"/>
      <dgm:spPr/>
    </dgm:pt>
    <dgm:pt modelId="{03627AB9-E216-8A4B-A7F7-D323A1EC49D9}" type="pres">
      <dgm:prSet presAssocID="{65947C88-E531-4940-B19C-89A94C1CFB76}" presName="node" presStyleLbl="revTx" presStyleIdx="2" presStyleCnt="4">
        <dgm:presLayoutVars>
          <dgm:bulletEnabled val="1"/>
        </dgm:presLayoutVars>
      </dgm:prSet>
      <dgm:spPr/>
    </dgm:pt>
    <dgm:pt modelId="{E4A922D6-F7F7-4049-B5C5-E7FA4E6CFF15}" type="pres">
      <dgm:prSet presAssocID="{836346A5-5AE6-CD4A-9B88-B2333DA08C01}" presName="sibTrans" presStyleLbl="node1" presStyleIdx="2" presStyleCnt="4"/>
      <dgm:spPr/>
    </dgm:pt>
    <dgm:pt modelId="{328FF0C9-C8E9-7844-82B9-8DEF6433702C}" type="pres">
      <dgm:prSet presAssocID="{540B18D2-E4E9-8949-97E2-FCFF55243BFE}" presName="dummy" presStyleCnt="0"/>
      <dgm:spPr/>
    </dgm:pt>
    <dgm:pt modelId="{825CBC42-BFBF-574B-8254-A9554F009746}" type="pres">
      <dgm:prSet presAssocID="{540B18D2-E4E9-8949-97E2-FCFF55243BFE}" presName="node" presStyleLbl="revTx" presStyleIdx="3" presStyleCnt="4">
        <dgm:presLayoutVars>
          <dgm:bulletEnabled val="1"/>
        </dgm:presLayoutVars>
      </dgm:prSet>
      <dgm:spPr/>
    </dgm:pt>
    <dgm:pt modelId="{A2B32F0D-B48E-4041-ADAB-2883F1B22FDB}" type="pres">
      <dgm:prSet presAssocID="{A14BCAAD-E29B-3E4C-A8B1-884FB66DA62E}" presName="sibTrans" presStyleLbl="node1" presStyleIdx="3" presStyleCnt="4"/>
      <dgm:spPr/>
    </dgm:pt>
  </dgm:ptLst>
  <dgm:cxnLst>
    <dgm:cxn modelId="{D8C56C16-F86D-6540-B879-72EAF1D4896F}" type="presOf" srcId="{540B18D2-E4E9-8949-97E2-FCFF55243BFE}" destId="{825CBC42-BFBF-574B-8254-A9554F009746}" srcOrd="0" destOrd="0" presId="urn:microsoft.com/office/officeart/2005/8/layout/cycle1"/>
    <dgm:cxn modelId="{30E9F418-1A4A-B841-B5A3-9C500A59BC31}" type="presOf" srcId="{A14BCAAD-E29B-3E4C-A8B1-884FB66DA62E}" destId="{A2B32F0D-B48E-4041-ADAB-2883F1B22FDB}" srcOrd="0" destOrd="0" presId="urn:microsoft.com/office/officeart/2005/8/layout/cycle1"/>
    <dgm:cxn modelId="{67A30F22-9E02-F940-A51C-326E0DDEA000}" type="presOf" srcId="{A588B9C3-CEB4-E34C-8C52-0058A77A5967}" destId="{7B27746E-D0D9-E64F-A9ED-AB79DBD41883}" srcOrd="0" destOrd="0" presId="urn:microsoft.com/office/officeart/2005/8/layout/cycle1"/>
    <dgm:cxn modelId="{F6A2C82A-FB75-434A-B981-763C6E2006BC}" srcId="{A588B9C3-CEB4-E34C-8C52-0058A77A5967}" destId="{F1D14543-F82D-C34D-9668-173C4903971A}" srcOrd="0" destOrd="0" parTransId="{4D57FF92-5D3B-7140-A10D-0ACF4851BE21}" sibTransId="{11B8C323-057B-6441-99A2-317BEEBE35EF}"/>
    <dgm:cxn modelId="{0041C32C-E9C9-6445-A379-73AEC9962D98}" type="presOf" srcId="{F1D14543-F82D-C34D-9668-173C4903971A}" destId="{0B4E8802-BF8B-A848-A20A-B295040CFECA}" srcOrd="0" destOrd="0" presId="urn:microsoft.com/office/officeart/2005/8/layout/cycle1"/>
    <dgm:cxn modelId="{81536360-B5E0-9846-AC08-419E17DA8196}" srcId="{A588B9C3-CEB4-E34C-8C52-0058A77A5967}" destId="{65947C88-E531-4940-B19C-89A94C1CFB76}" srcOrd="2" destOrd="0" parTransId="{8EBF483E-D202-7C4D-95A3-6F31F71411D0}" sibTransId="{836346A5-5AE6-CD4A-9B88-B2333DA08C01}"/>
    <dgm:cxn modelId="{C050BD73-4541-F346-97CC-4A8ABB6FA1EE}" srcId="{A588B9C3-CEB4-E34C-8C52-0058A77A5967}" destId="{540B18D2-E4E9-8949-97E2-FCFF55243BFE}" srcOrd="3" destOrd="0" parTransId="{6C946167-0D90-AB48-8A46-B0A37F3B89C3}" sibTransId="{A14BCAAD-E29B-3E4C-A8B1-884FB66DA62E}"/>
    <dgm:cxn modelId="{B368A180-7AD2-6244-B3EA-51E264C0DCAE}" type="presOf" srcId="{11B8C323-057B-6441-99A2-317BEEBE35EF}" destId="{B3CA27BA-A25B-9340-B4F8-A7174A728D9A}" srcOrd="0" destOrd="0" presId="urn:microsoft.com/office/officeart/2005/8/layout/cycle1"/>
    <dgm:cxn modelId="{D80E0789-F322-FF4D-9AF4-A7D0AA506FA5}" type="presOf" srcId="{C1CCB627-1090-BA4B-AF8D-3189971223D0}" destId="{249051EC-F66A-584A-A150-95ED33348B57}" srcOrd="0" destOrd="0" presId="urn:microsoft.com/office/officeart/2005/8/layout/cycle1"/>
    <dgm:cxn modelId="{FA91CA97-6856-E04D-9302-A3003D0290C5}" type="presOf" srcId="{45BDB10D-D8FF-1B41-95F3-E7C6E32C9832}" destId="{7E9B646F-A801-F04D-9EDB-553A5A3BFCA6}" srcOrd="0" destOrd="0" presId="urn:microsoft.com/office/officeart/2005/8/layout/cycle1"/>
    <dgm:cxn modelId="{532FFBA1-BAF2-2B4F-A5D8-4C7969A89340}" type="presOf" srcId="{65947C88-E531-4940-B19C-89A94C1CFB76}" destId="{03627AB9-E216-8A4B-A7F7-D323A1EC49D9}" srcOrd="0" destOrd="0" presId="urn:microsoft.com/office/officeart/2005/8/layout/cycle1"/>
    <dgm:cxn modelId="{FA82BCEC-A8AA-D14F-B9CB-A759877B1E91}" srcId="{A588B9C3-CEB4-E34C-8C52-0058A77A5967}" destId="{45BDB10D-D8FF-1B41-95F3-E7C6E32C9832}" srcOrd="1" destOrd="0" parTransId="{7FC090E0-0471-CD47-A4F2-F8AF709FC9F0}" sibTransId="{C1CCB627-1090-BA4B-AF8D-3189971223D0}"/>
    <dgm:cxn modelId="{94FFB7FC-3ABB-8349-9A20-05B60CD371F7}" type="presOf" srcId="{836346A5-5AE6-CD4A-9B88-B2333DA08C01}" destId="{E4A922D6-F7F7-4049-B5C5-E7FA4E6CFF15}" srcOrd="0" destOrd="0" presId="urn:microsoft.com/office/officeart/2005/8/layout/cycle1"/>
    <dgm:cxn modelId="{8D49006D-2669-D542-8DC6-7FF93AC8CCD7}" type="presParOf" srcId="{7B27746E-D0D9-E64F-A9ED-AB79DBD41883}" destId="{E7464EE5-05E1-2A4E-AF60-E276E5530F61}" srcOrd="0" destOrd="0" presId="urn:microsoft.com/office/officeart/2005/8/layout/cycle1"/>
    <dgm:cxn modelId="{344547AB-2C47-4842-9620-C3B94071C8DE}" type="presParOf" srcId="{7B27746E-D0D9-E64F-A9ED-AB79DBD41883}" destId="{0B4E8802-BF8B-A848-A20A-B295040CFECA}" srcOrd="1" destOrd="0" presId="urn:microsoft.com/office/officeart/2005/8/layout/cycle1"/>
    <dgm:cxn modelId="{6657AFA0-4069-6848-94F2-C0450759E8C8}" type="presParOf" srcId="{7B27746E-D0D9-E64F-A9ED-AB79DBD41883}" destId="{B3CA27BA-A25B-9340-B4F8-A7174A728D9A}" srcOrd="2" destOrd="0" presId="urn:microsoft.com/office/officeart/2005/8/layout/cycle1"/>
    <dgm:cxn modelId="{5788FF2F-4BEF-BC40-AB4D-B44640B05D3D}" type="presParOf" srcId="{7B27746E-D0D9-E64F-A9ED-AB79DBD41883}" destId="{1B81FA1F-3AA8-1043-8B93-D900BF74EE87}" srcOrd="3" destOrd="0" presId="urn:microsoft.com/office/officeart/2005/8/layout/cycle1"/>
    <dgm:cxn modelId="{55356C78-B983-1944-BDFE-88ED7518A988}" type="presParOf" srcId="{7B27746E-D0D9-E64F-A9ED-AB79DBD41883}" destId="{7E9B646F-A801-F04D-9EDB-553A5A3BFCA6}" srcOrd="4" destOrd="0" presId="urn:microsoft.com/office/officeart/2005/8/layout/cycle1"/>
    <dgm:cxn modelId="{5FB9A027-1400-5B42-AEEA-24DC868ECAFF}" type="presParOf" srcId="{7B27746E-D0D9-E64F-A9ED-AB79DBD41883}" destId="{249051EC-F66A-584A-A150-95ED33348B57}" srcOrd="5" destOrd="0" presId="urn:microsoft.com/office/officeart/2005/8/layout/cycle1"/>
    <dgm:cxn modelId="{81832E11-EF2F-1647-A508-85801BF75FB2}" type="presParOf" srcId="{7B27746E-D0D9-E64F-A9ED-AB79DBD41883}" destId="{875E946C-9A53-EB4A-8A6E-EE28410A1FBE}" srcOrd="6" destOrd="0" presId="urn:microsoft.com/office/officeart/2005/8/layout/cycle1"/>
    <dgm:cxn modelId="{2CF7E62D-9E5E-4446-B33A-73D2D35E3E54}" type="presParOf" srcId="{7B27746E-D0D9-E64F-A9ED-AB79DBD41883}" destId="{03627AB9-E216-8A4B-A7F7-D323A1EC49D9}" srcOrd="7" destOrd="0" presId="urn:microsoft.com/office/officeart/2005/8/layout/cycle1"/>
    <dgm:cxn modelId="{B21B1263-3593-664F-AB4A-8347BAFCFE00}" type="presParOf" srcId="{7B27746E-D0D9-E64F-A9ED-AB79DBD41883}" destId="{E4A922D6-F7F7-4049-B5C5-E7FA4E6CFF15}" srcOrd="8" destOrd="0" presId="urn:microsoft.com/office/officeart/2005/8/layout/cycle1"/>
    <dgm:cxn modelId="{8CA21B46-A42B-4D46-A1DD-756A7640EBAB}" type="presParOf" srcId="{7B27746E-D0D9-E64F-A9ED-AB79DBD41883}" destId="{328FF0C9-C8E9-7844-82B9-8DEF6433702C}" srcOrd="9" destOrd="0" presId="urn:microsoft.com/office/officeart/2005/8/layout/cycle1"/>
    <dgm:cxn modelId="{53301BCA-BDDE-CA41-9BCD-AFCDC5BE1DDE}" type="presParOf" srcId="{7B27746E-D0D9-E64F-A9ED-AB79DBD41883}" destId="{825CBC42-BFBF-574B-8254-A9554F009746}" srcOrd="10" destOrd="0" presId="urn:microsoft.com/office/officeart/2005/8/layout/cycle1"/>
    <dgm:cxn modelId="{48A9CE64-E54B-724E-A068-9F4F394012BE}" type="presParOf" srcId="{7B27746E-D0D9-E64F-A9ED-AB79DBD41883}" destId="{A2B32F0D-B48E-4041-ADAB-2883F1B22FDB}" srcOrd="11" destOrd="0" presId="urn:microsoft.com/office/officeart/2005/8/layout/cycle1"/>
  </dgm:cxnLst>
  <dgm:bg/>
  <dgm:whole/>
  <dgm:extLst>
    <a:ext uri="http://schemas.microsoft.com/office/drawing/2008/diagram">
      <dsp:dataModelExt xmlns:dsp="http://schemas.microsoft.com/office/drawing/2008/diagram" relId="rId28"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A588B9C3-CEB4-E34C-8C52-0058A77A5967}" type="doc">
      <dgm:prSet loTypeId="urn:microsoft.com/office/officeart/2005/8/layout/cycle1" loCatId="" qsTypeId="urn:microsoft.com/office/officeart/2005/8/quickstyle/simple4" qsCatId="simple" csTypeId="urn:microsoft.com/office/officeart/2005/8/colors/accent1_2" csCatId="accent1" phldr="1"/>
      <dgm:spPr/>
      <dgm:t>
        <a:bodyPr/>
        <a:lstStyle/>
        <a:p>
          <a:endParaRPr lang="en-US"/>
        </a:p>
      </dgm:t>
    </dgm:pt>
    <dgm:pt modelId="{F1D14543-F82D-C34D-9668-173C4903971A}">
      <dgm:prSet phldrT="[Text]"/>
      <dgm:spPr/>
      <dgm:t>
        <a:bodyPr/>
        <a:lstStyle/>
        <a:p>
          <a:r>
            <a:rPr lang="en-US" dirty="0"/>
            <a:t>D</a:t>
          </a:r>
        </a:p>
      </dgm:t>
    </dgm:pt>
    <dgm:pt modelId="{4D57FF92-5D3B-7140-A10D-0ACF4851BE21}" type="parTrans" cxnId="{F6A2C82A-FB75-434A-B981-763C6E2006BC}">
      <dgm:prSet/>
      <dgm:spPr/>
      <dgm:t>
        <a:bodyPr/>
        <a:lstStyle/>
        <a:p>
          <a:endParaRPr lang="en-US"/>
        </a:p>
      </dgm:t>
    </dgm:pt>
    <dgm:pt modelId="{11B8C323-057B-6441-99A2-317BEEBE35EF}" type="sibTrans" cxnId="{F6A2C82A-FB75-434A-B981-763C6E2006BC}">
      <dgm:prSet/>
      <dgm:spPr>
        <a:solidFill>
          <a:schemeClr val="accent1"/>
        </a:solidFill>
        <a:effectLst/>
      </dgm:spPr>
      <dgm:t>
        <a:bodyPr/>
        <a:lstStyle/>
        <a:p>
          <a:endParaRPr lang="en-US"/>
        </a:p>
      </dgm:t>
    </dgm:pt>
    <dgm:pt modelId="{45BDB10D-D8FF-1B41-95F3-E7C6E32C9832}">
      <dgm:prSet phldrT="[Text]"/>
      <dgm:spPr/>
      <dgm:t>
        <a:bodyPr/>
        <a:lstStyle/>
        <a:p>
          <a:r>
            <a:rPr lang="en-US" dirty="0"/>
            <a:t>C</a:t>
          </a:r>
        </a:p>
      </dgm:t>
    </dgm:pt>
    <dgm:pt modelId="{7FC090E0-0471-CD47-A4F2-F8AF709FC9F0}" type="parTrans" cxnId="{FA82BCEC-A8AA-D14F-B9CB-A759877B1E91}">
      <dgm:prSet/>
      <dgm:spPr/>
      <dgm:t>
        <a:bodyPr/>
        <a:lstStyle/>
        <a:p>
          <a:endParaRPr lang="en-US"/>
        </a:p>
      </dgm:t>
    </dgm:pt>
    <dgm:pt modelId="{C1CCB627-1090-BA4B-AF8D-3189971223D0}" type="sibTrans" cxnId="{FA82BCEC-A8AA-D14F-B9CB-A759877B1E91}">
      <dgm:prSet/>
      <dgm:spPr>
        <a:solidFill>
          <a:schemeClr val="accent1"/>
        </a:solidFill>
        <a:effectLst/>
      </dgm:spPr>
      <dgm:t>
        <a:bodyPr/>
        <a:lstStyle/>
        <a:p>
          <a:endParaRPr lang="en-US"/>
        </a:p>
      </dgm:t>
    </dgm:pt>
    <dgm:pt modelId="{65947C88-E531-4940-B19C-89A94C1CFB76}">
      <dgm:prSet phldrT="[Text]"/>
      <dgm:spPr/>
      <dgm:t>
        <a:bodyPr/>
        <a:lstStyle/>
        <a:p>
          <a:r>
            <a:rPr lang="en-US" dirty="0"/>
            <a:t>A</a:t>
          </a:r>
        </a:p>
      </dgm:t>
    </dgm:pt>
    <dgm:pt modelId="{8EBF483E-D202-7C4D-95A3-6F31F71411D0}" type="parTrans" cxnId="{81536360-B5E0-9846-AC08-419E17DA8196}">
      <dgm:prSet/>
      <dgm:spPr/>
      <dgm:t>
        <a:bodyPr/>
        <a:lstStyle/>
        <a:p>
          <a:endParaRPr lang="en-US"/>
        </a:p>
      </dgm:t>
    </dgm:pt>
    <dgm:pt modelId="{836346A5-5AE6-CD4A-9B88-B2333DA08C01}" type="sibTrans" cxnId="{81536360-B5E0-9846-AC08-419E17DA8196}">
      <dgm:prSet/>
      <dgm:spPr>
        <a:solidFill>
          <a:schemeClr val="accent1"/>
        </a:solidFill>
        <a:effectLst/>
      </dgm:spPr>
      <dgm:t>
        <a:bodyPr/>
        <a:lstStyle/>
        <a:p>
          <a:endParaRPr lang="en-US"/>
        </a:p>
      </dgm:t>
    </dgm:pt>
    <dgm:pt modelId="{540B18D2-E4E9-8949-97E2-FCFF55243BFE}">
      <dgm:prSet phldrT="[Text]"/>
      <dgm:spPr/>
      <dgm:t>
        <a:bodyPr/>
        <a:lstStyle/>
        <a:p>
          <a:r>
            <a:rPr lang="en-US" dirty="0"/>
            <a:t>P</a:t>
          </a:r>
        </a:p>
      </dgm:t>
    </dgm:pt>
    <dgm:pt modelId="{6C946167-0D90-AB48-8A46-B0A37F3B89C3}" type="parTrans" cxnId="{C050BD73-4541-F346-97CC-4A8ABB6FA1EE}">
      <dgm:prSet/>
      <dgm:spPr/>
      <dgm:t>
        <a:bodyPr/>
        <a:lstStyle/>
        <a:p>
          <a:endParaRPr lang="en-US"/>
        </a:p>
      </dgm:t>
    </dgm:pt>
    <dgm:pt modelId="{A14BCAAD-E29B-3E4C-A8B1-884FB66DA62E}" type="sibTrans" cxnId="{C050BD73-4541-F346-97CC-4A8ABB6FA1EE}">
      <dgm:prSet/>
      <dgm:spPr>
        <a:solidFill>
          <a:schemeClr val="accent1"/>
        </a:solidFill>
        <a:effectLst/>
      </dgm:spPr>
      <dgm:t>
        <a:bodyPr/>
        <a:lstStyle/>
        <a:p>
          <a:endParaRPr lang="en-US"/>
        </a:p>
      </dgm:t>
    </dgm:pt>
    <dgm:pt modelId="{7B27746E-D0D9-E64F-A9ED-AB79DBD41883}" type="pres">
      <dgm:prSet presAssocID="{A588B9C3-CEB4-E34C-8C52-0058A77A5967}" presName="cycle" presStyleCnt="0">
        <dgm:presLayoutVars>
          <dgm:dir/>
          <dgm:resizeHandles val="exact"/>
        </dgm:presLayoutVars>
      </dgm:prSet>
      <dgm:spPr/>
    </dgm:pt>
    <dgm:pt modelId="{E7464EE5-05E1-2A4E-AF60-E276E5530F61}" type="pres">
      <dgm:prSet presAssocID="{F1D14543-F82D-C34D-9668-173C4903971A}" presName="dummy" presStyleCnt="0"/>
      <dgm:spPr/>
    </dgm:pt>
    <dgm:pt modelId="{0B4E8802-BF8B-A848-A20A-B295040CFECA}" type="pres">
      <dgm:prSet presAssocID="{F1D14543-F82D-C34D-9668-173C4903971A}" presName="node" presStyleLbl="revTx" presStyleIdx="0" presStyleCnt="4">
        <dgm:presLayoutVars>
          <dgm:bulletEnabled val="1"/>
        </dgm:presLayoutVars>
      </dgm:prSet>
      <dgm:spPr/>
    </dgm:pt>
    <dgm:pt modelId="{B3CA27BA-A25B-9340-B4F8-A7174A728D9A}" type="pres">
      <dgm:prSet presAssocID="{11B8C323-057B-6441-99A2-317BEEBE35EF}" presName="sibTrans" presStyleLbl="node1" presStyleIdx="0" presStyleCnt="4"/>
      <dgm:spPr/>
    </dgm:pt>
    <dgm:pt modelId="{1B81FA1F-3AA8-1043-8B93-D900BF74EE87}" type="pres">
      <dgm:prSet presAssocID="{45BDB10D-D8FF-1B41-95F3-E7C6E32C9832}" presName="dummy" presStyleCnt="0"/>
      <dgm:spPr/>
    </dgm:pt>
    <dgm:pt modelId="{7E9B646F-A801-F04D-9EDB-553A5A3BFCA6}" type="pres">
      <dgm:prSet presAssocID="{45BDB10D-D8FF-1B41-95F3-E7C6E32C9832}" presName="node" presStyleLbl="revTx" presStyleIdx="1" presStyleCnt="4">
        <dgm:presLayoutVars>
          <dgm:bulletEnabled val="1"/>
        </dgm:presLayoutVars>
      </dgm:prSet>
      <dgm:spPr/>
    </dgm:pt>
    <dgm:pt modelId="{249051EC-F66A-584A-A150-95ED33348B57}" type="pres">
      <dgm:prSet presAssocID="{C1CCB627-1090-BA4B-AF8D-3189971223D0}" presName="sibTrans" presStyleLbl="node1" presStyleIdx="1" presStyleCnt="4" custLinFactNeighborX="5187"/>
      <dgm:spPr/>
    </dgm:pt>
    <dgm:pt modelId="{875E946C-9A53-EB4A-8A6E-EE28410A1FBE}" type="pres">
      <dgm:prSet presAssocID="{65947C88-E531-4940-B19C-89A94C1CFB76}" presName="dummy" presStyleCnt="0"/>
      <dgm:spPr/>
    </dgm:pt>
    <dgm:pt modelId="{03627AB9-E216-8A4B-A7F7-D323A1EC49D9}" type="pres">
      <dgm:prSet presAssocID="{65947C88-E531-4940-B19C-89A94C1CFB76}" presName="node" presStyleLbl="revTx" presStyleIdx="2" presStyleCnt="4">
        <dgm:presLayoutVars>
          <dgm:bulletEnabled val="1"/>
        </dgm:presLayoutVars>
      </dgm:prSet>
      <dgm:spPr/>
    </dgm:pt>
    <dgm:pt modelId="{E4A922D6-F7F7-4049-B5C5-E7FA4E6CFF15}" type="pres">
      <dgm:prSet presAssocID="{836346A5-5AE6-CD4A-9B88-B2333DA08C01}" presName="sibTrans" presStyleLbl="node1" presStyleIdx="2" presStyleCnt="4"/>
      <dgm:spPr/>
    </dgm:pt>
    <dgm:pt modelId="{328FF0C9-C8E9-7844-82B9-8DEF6433702C}" type="pres">
      <dgm:prSet presAssocID="{540B18D2-E4E9-8949-97E2-FCFF55243BFE}" presName="dummy" presStyleCnt="0"/>
      <dgm:spPr/>
    </dgm:pt>
    <dgm:pt modelId="{825CBC42-BFBF-574B-8254-A9554F009746}" type="pres">
      <dgm:prSet presAssocID="{540B18D2-E4E9-8949-97E2-FCFF55243BFE}" presName="node" presStyleLbl="revTx" presStyleIdx="3" presStyleCnt="4">
        <dgm:presLayoutVars>
          <dgm:bulletEnabled val="1"/>
        </dgm:presLayoutVars>
      </dgm:prSet>
      <dgm:spPr/>
    </dgm:pt>
    <dgm:pt modelId="{A2B32F0D-B48E-4041-ADAB-2883F1B22FDB}" type="pres">
      <dgm:prSet presAssocID="{A14BCAAD-E29B-3E4C-A8B1-884FB66DA62E}" presName="sibTrans" presStyleLbl="node1" presStyleIdx="3" presStyleCnt="4"/>
      <dgm:spPr/>
    </dgm:pt>
  </dgm:ptLst>
  <dgm:cxnLst>
    <dgm:cxn modelId="{F6A2C82A-FB75-434A-B981-763C6E2006BC}" srcId="{A588B9C3-CEB4-E34C-8C52-0058A77A5967}" destId="{F1D14543-F82D-C34D-9668-173C4903971A}" srcOrd="0" destOrd="0" parTransId="{4D57FF92-5D3B-7140-A10D-0ACF4851BE21}" sibTransId="{11B8C323-057B-6441-99A2-317BEEBE35EF}"/>
    <dgm:cxn modelId="{FB8EDA30-B2BC-C643-AEF4-1E84B1740526}" type="presOf" srcId="{A588B9C3-CEB4-E34C-8C52-0058A77A5967}" destId="{7B27746E-D0D9-E64F-A9ED-AB79DBD41883}" srcOrd="0" destOrd="0" presId="urn:microsoft.com/office/officeart/2005/8/layout/cycle1"/>
    <dgm:cxn modelId="{0307C134-4328-C44C-98BF-AA53B83D482C}" type="presOf" srcId="{540B18D2-E4E9-8949-97E2-FCFF55243BFE}" destId="{825CBC42-BFBF-574B-8254-A9554F009746}" srcOrd="0" destOrd="0" presId="urn:microsoft.com/office/officeart/2005/8/layout/cycle1"/>
    <dgm:cxn modelId="{87DB7338-B18F-F640-8C75-183872818808}" type="presOf" srcId="{65947C88-E531-4940-B19C-89A94C1CFB76}" destId="{03627AB9-E216-8A4B-A7F7-D323A1EC49D9}" srcOrd="0" destOrd="0" presId="urn:microsoft.com/office/officeart/2005/8/layout/cycle1"/>
    <dgm:cxn modelId="{668A3739-D321-0449-90E3-185032584833}" type="presOf" srcId="{45BDB10D-D8FF-1B41-95F3-E7C6E32C9832}" destId="{7E9B646F-A801-F04D-9EDB-553A5A3BFCA6}" srcOrd="0" destOrd="0" presId="urn:microsoft.com/office/officeart/2005/8/layout/cycle1"/>
    <dgm:cxn modelId="{5667663E-AEE4-9344-AAA6-2E2DB4AFE99F}" type="presOf" srcId="{C1CCB627-1090-BA4B-AF8D-3189971223D0}" destId="{249051EC-F66A-584A-A150-95ED33348B57}" srcOrd="0" destOrd="0" presId="urn:microsoft.com/office/officeart/2005/8/layout/cycle1"/>
    <dgm:cxn modelId="{81536360-B5E0-9846-AC08-419E17DA8196}" srcId="{A588B9C3-CEB4-E34C-8C52-0058A77A5967}" destId="{65947C88-E531-4940-B19C-89A94C1CFB76}" srcOrd="2" destOrd="0" parTransId="{8EBF483E-D202-7C4D-95A3-6F31F71411D0}" sibTransId="{836346A5-5AE6-CD4A-9B88-B2333DA08C01}"/>
    <dgm:cxn modelId="{6DB3136B-06A5-ED40-ABAA-D6F94828897E}" type="presOf" srcId="{F1D14543-F82D-C34D-9668-173C4903971A}" destId="{0B4E8802-BF8B-A848-A20A-B295040CFECA}" srcOrd="0" destOrd="0" presId="urn:microsoft.com/office/officeart/2005/8/layout/cycle1"/>
    <dgm:cxn modelId="{C050BD73-4541-F346-97CC-4A8ABB6FA1EE}" srcId="{A588B9C3-CEB4-E34C-8C52-0058A77A5967}" destId="{540B18D2-E4E9-8949-97E2-FCFF55243BFE}" srcOrd="3" destOrd="0" parTransId="{6C946167-0D90-AB48-8A46-B0A37F3B89C3}" sibTransId="{A14BCAAD-E29B-3E4C-A8B1-884FB66DA62E}"/>
    <dgm:cxn modelId="{1D50E7A6-2339-F747-8532-9CE5F50BC3C2}" type="presOf" srcId="{A14BCAAD-E29B-3E4C-A8B1-884FB66DA62E}" destId="{A2B32F0D-B48E-4041-ADAB-2883F1B22FDB}" srcOrd="0" destOrd="0" presId="urn:microsoft.com/office/officeart/2005/8/layout/cycle1"/>
    <dgm:cxn modelId="{0790A1A7-32D7-2C44-97A7-8EB4DA3D0FF4}" type="presOf" srcId="{11B8C323-057B-6441-99A2-317BEEBE35EF}" destId="{B3CA27BA-A25B-9340-B4F8-A7174A728D9A}" srcOrd="0" destOrd="0" presId="urn:microsoft.com/office/officeart/2005/8/layout/cycle1"/>
    <dgm:cxn modelId="{6EF0C2E2-0CFA-F443-BEB2-C4833F5DE3FC}" type="presOf" srcId="{836346A5-5AE6-CD4A-9B88-B2333DA08C01}" destId="{E4A922D6-F7F7-4049-B5C5-E7FA4E6CFF15}" srcOrd="0" destOrd="0" presId="urn:microsoft.com/office/officeart/2005/8/layout/cycle1"/>
    <dgm:cxn modelId="{FA82BCEC-A8AA-D14F-B9CB-A759877B1E91}" srcId="{A588B9C3-CEB4-E34C-8C52-0058A77A5967}" destId="{45BDB10D-D8FF-1B41-95F3-E7C6E32C9832}" srcOrd="1" destOrd="0" parTransId="{7FC090E0-0471-CD47-A4F2-F8AF709FC9F0}" sibTransId="{C1CCB627-1090-BA4B-AF8D-3189971223D0}"/>
    <dgm:cxn modelId="{6E77953D-F87F-AA46-8FAE-B403400D230E}" type="presParOf" srcId="{7B27746E-D0D9-E64F-A9ED-AB79DBD41883}" destId="{E7464EE5-05E1-2A4E-AF60-E276E5530F61}" srcOrd="0" destOrd="0" presId="urn:microsoft.com/office/officeart/2005/8/layout/cycle1"/>
    <dgm:cxn modelId="{23CCE009-CC3B-9348-98A5-A790176FD605}" type="presParOf" srcId="{7B27746E-D0D9-E64F-A9ED-AB79DBD41883}" destId="{0B4E8802-BF8B-A848-A20A-B295040CFECA}" srcOrd="1" destOrd="0" presId="urn:microsoft.com/office/officeart/2005/8/layout/cycle1"/>
    <dgm:cxn modelId="{C06B7A9C-49AC-334D-865A-7F881A6EB680}" type="presParOf" srcId="{7B27746E-D0D9-E64F-A9ED-AB79DBD41883}" destId="{B3CA27BA-A25B-9340-B4F8-A7174A728D9A}" srcOrd="2" destOrd="0" presId="urn:microsoft.com/office/officeart/2005/8/layout/cycle1"/>
    <dgm:cxn modelId="{21EA63FC-DE48-FB4A-B96C-631345CCFDFF}" type="presParOf" srcId="{7B27746E-D0D9-E64F-A9ED-AB79DBD41883}" destId="{1B81FA1F-3AA8-1043-8B93-D900BF74EE87}" srcOrd="3" destOrd="0" presId="urn:microsoft.com/office/officeart/2005/8/layout/cycle1"/>
    <dgm:cxn modelId="{C76B1A6A-329A-CE4F-8356-2C7E1EBF1588}" type="presParOf" srcId="{7B27746E-D0D9-E64F-A9ED-AB79DBD41883}" destId="{7E9B646F-A801-F04D-9EDB-553A5A3BFCA6}" srcOrd="4" destOrd="0" presId="urn:microsoft.com/office/officeart/2005/8/layout/cycle1"/>
    <dgm:cxn modelId="{CB9146B3-73AC-D544-B2FE-B3F6F048AA9B}" type="presParOf" srcId="{7B27746E-D0D9-E64F-A9ED-AB79DBD41883}" destId="{249051EC-F66A-584A-A150-95ED33348B57}" srcOrd="5" destOrd="0" presId="urn:microsoft.com/office/officeart/2005/8/layout/cycle1"/>
    <dgm:cxn modelId="{1563F00E-8F9F-6F46-BE62-E0B0CFF40E50}" type="presParOf" srcId="{7B27746E-D0D9-E64F-A9ED-AB79DBD41883}" destId="{875E946C-9A53-EB4A-8A6E-EE28410A1FBE}" srcOrd="6" destOrd="0" presId="urn:microsoft.com/office/officeart/2005/8/layout/cycle1"/>
    <dgm:cxn modelId="{8EC52925-CFDA-4B48-839E-4BA6CCD51983}" type="presParOf" srcId="{7B27746E-D0D9-E64F-A9ED-AB79DBD41883}" destId="{03627AB9-E216-8A4B-A7F7-D323A1EC49D9}" srcOrd="7" destOrd="0" presId="urn:microsoft.com/office/officeart/2005/8/layout/cycle1"/>
    <dgm:cxn modelId="{8A960809-365C-C84F-9ED7-110F5E825011}" type="presParOf" srcId="{7B27746E-D0D9-E64F-A9ED-AB79DBD41883}" destId="{E4A922D6-F7F7-4049-B5C5-E7FA4E6CFF15}" srcOrd="8" destOrd="0" presId="urn:microsoft.com/office/officeart/2005/8/layout/cycle1"/>
    <dgm:cxn modelId="{4BD9E140-AE58-DE4A-828F-7BA4D1E42739}" type="presParOf" srcId="{7B27746E-D0D9-E64F-A9ED-AB79DBD41883}" destId="{328FF0C9-C8E9-7844-82B9-8DEF6433702C}" srcOrd="9" destOrd="0" presId="urn:microsoft.com/office/officeart/2005/8/layout/cycle1"/>
    <dgm:cxn modelId="{0BF188EB-4684-EE41-AFE7-F188312BB596}" type="presParOf" srcId="{7B27746E-D0D9-E64F-A9ED-AB79DBD41883}" destId="{825CBC42-BFBF-574B-8254-A9554F009746}" srcOrd="10" destOrd="0" presId="urn:microsoft.com/office/officeart/2005/8/layout/cycle1"/>
    <dgm:cxn modelId="{319BB6F4-9F55-B944-892C-E66DF1D14313}" type="presParOf" srcId="{7B27746E-D0D9-E64F-A9ED-AB79DBD41883}" destId="{A2B32F0D-B48E-4041-ADAB-2883F1B22FDB}" srcOrd="11" destOrd="0" presId="urn:microsoft.com/office/officeart/2005/8/layout/cycle1"/>
  </dgm:cxnLst>
  <dgm:bg/>
  <dgm:whole/>
  <dgm:extLst>
    <a:ext uri="http://schemas.microsoft.com/office/drawing/2008/diagram">
      <dsp:dataModelExt xmlns:dsp="http://schemas.microsoft.com/office/drawing/2008/diagram" relId="rId33"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A588B9C3-CEB4-E34C-8C52-0058A77A5967}" type="doc">
      <dgm:prSet loTypeId="urn:microsoft.com/office/officeart/2005/8/layout/cycle1" loCatId="" qsTypeId="urn:microsoft.com/office/officeart/2005/8/quickstyle/simple4" qsCatId="simple" csTypeId="urn:microsoft.com/office/officeart/2005/8/colors/accent1_2" csCatId="accent1" phldr="1"/>
      <dgm:spPr/>
      <dgm:t>
        <a:bodyPr/>
        <a:lstStyle/>
        <a:p>
          <a:endParaRPr lang="en-US"/>
        </a:p>
      </dgm:t>
    </dgm:pt>
    <dgm:pt modelId="{F1D14543-F82D-C34D-9668-173C4903971A}">
      <dgm:prSet phldrT="[Text]"/>
      <dgm:spPr/>
      <dgm:t>
        <a:bodyPr/>
        <a:lstStyle/>
        <a:p>
          <a:r>
            <a:rPr lang="en-US" dirty="0"/>
            <a:t>D</a:t>
          </a:r>
        </a:p>
      </dgm:t>
    </dgm:pt>
    <dgm:pt modelId="{4D57FF92-5D3B-7140-A10D-0ACF4851BE21}" type="parTrans" cxnId="{F6A2C82A-FB75-434A-B981-763C6E2006BC}">
      <dgm:prSet/>
      <dgm:spPr/>
      <dgm:t>
        <a:bodyPr/>
        <a:lstStyle/>
        <a:p>
          <a:endParaRPr lang="en-US"/>
        </a:p>
      </dgm:t>
    </dgm:pt>
    <dgm:pt modelId="{11B8C323-057B-6441-99A2-317BEEBE35EF}" type="sibTrans" cxnId="{F6A2C82A-FB75-434A-B981-763C6E2006BC}">
      <dgm:prSet/>
      <dgm:spPr>
        <a:solidFill>
          <a:schemeClr val="accent1"/>
        </a:solidFill>
        <a:effectLst/>
      </dgm:spPr>
      <dgm:t>
        <a:bodyPr/>
        <a:lstStyle/>
        <a:p>
          <a:endParaRPr lang="en-US"/>
        </a:p>
      </dgm:t>
    </dgm:pt>
    <dgm:pt modelId="{45BDB10D-D8FF-1B41-95F3-E7C6E32C9832}">
      <dgm:prSet phldrT="[Text]"/>
      <dgm:spPr/>
      <dgm:t>
        <a:bodyPr/>
        <a:lstStyle/>
        <a:p>
          <a:r>
            <a:rPr lang="en-US" dirty="0"/>
            <a:t>C</a:t>
          </a:r>
        </a:p>
      </dgm:t>
    </dgm:pt>
    <dgm:pt modelId="{7FC090E0-0471-CD47-A4F2-F8AF709FC9F0}" type="parTrans" cxnId="{FA82BCEC-A8AA-D14F-B9CB-A759877B1E91}">
      <dgm:prSet/>
      <dgm:spPr/>
      <dgm:t>
        <a:bodyPr/>
        <a:lstStyle/>
        <a:p>
          <a:endParaRPr lang="en-US"/>
        </a:p>
      </dgm:t>
    </dgm:pt>
    <dgm:pt modelId="{C1CCB627-1090-BA4B-AF8D-3189971223D0}" type="sibTrans" cxnId="{FA82BCEC-A8AA-D14F-B9CB-A759877B1E91}">
      <dgm:prSet/>
      <dgm:spPr>
        <a:solidFill>
          <a:schemeClr val="accent1"/>
        </a:solidFill>
        <a:effectLst/>
      </dgm:spPr>
      <dgm:t>
        <a:bodyPr/>
        <a:lstStyle/>
        <a:p>
          <a:endParaRPr lang="en-US"/>
        </a:p>
      </dgm:t>
    </dgm:pt>
    <dgm:pt modelId="{65947C88-E531-4940-B19C-89A94C1CFB76}">
      <dgm:prSet phldrT="[Text]"/>
      <dgm:spPr/>
      <dgm:t>
        <a:bodyPr/>
        <a:lstStyle/>
        <a:p>
          <a:r>
            <a:rPr lang="en-US" dirty="0"/>
            <a:t>A</a:t>
          </a:r>
        </a:p>
      </dgm:t>
    </dgm:pt>
    <dgm:pt modelId="{8EBF483E-D202-7C4D-95A3-6F31F71411D0}" type="parTrans" cxnId="{81536360-B5E0-9846-AC08-419E17DA8196}">
      <dgm:prSet/>
      <dgm:spPr/>
      <dgm:t>
        <a:bodyPr/>
        <a:lstStyle/>
        <a:p>
          <a:endParaRPr lang="en-US"/>
        </a:p>
      </dgm:t>
    </dgm:pt>
    <dgm:pt modelId="{836346A5-5AE6-CD4A-9B88-B2333DA08C01}" type="sibTrans" cxnId="{81536360-B5E0-9846-AC08-419E17DA8196}">
      <dgm:prSet/>
      <dgm:spPr>
        <a:solidFill>
          <a:schemeClr val="accent1"/>
        </a:solidFill>
        <a:effectLst/>
      </dgm:spPr>
      <dgm:t>
        <a:bodyPr/>
        <a:lstStyle/>
        <a:p>
          <a:endParaRPr lang="en-US"/>
        </a:p>
      </dgm:t>
    </dgm:pt>
    <dgm:pt modelId="{540B18D2-E4E9-8949-97E2-FCFF55243BFE}">
      <dgm:prSet phldrT="[Text]"/>
      <dgm:spPr/>
      <dgm:t>
        <a:bodyPr/>
        <a:lstStyle/>
        <a:p>
          <a:r>
            <a:rPr lang="en-US" dirty="0"/>
            <a:t>P</a:t>
          </a:r>
        </a:p>
      </dgm:t>
    </dgm:pt>
    <dgm:pt modelId="{6C946167-0D90-AB48-8A46-B0A37F3B89C3}" type="parTrans" cxnId="{C050BD73-4541-F346-97CC-4A8ABB6FA1EE}">
      <dgm:prSet/>
      <dgm:spPr/>
      <dgm:t>
        <a:bodyPr/>
        <a:lstStyle/>
        <a:p>
          <a:endParaRPr lang="en-US"/>
        </a:p>
      </dgm:t>
    </dgm:pt>
    <dgm:pt modelId="{A14BCAAD-E29B-3E4C-A8B1-884FB66DA62E}" type="sibTrans" cxnId="{C050BD73-4541-F346-97CC-4A8ABB6FA1EE}">
      <dgm:prSet/>
      <dgm:spPr>
        <a:solidFill>
          <a:schemeClr val="accent1"/>
        </a:solidFill>
        <a:effectLst/>
      </dgm:spPr>
      <dgm:t>
        <a:bodyPr/>
        <a:lstStyle/>
        <a:p>
          <a:endParaRPr lang="en-US"/>
        </a:p>
      </dgm:t>
    </dgm:pt>
    <dgm:pt modelId="{7B27746E-D0D9-E64F-A9ED-AB79DBD41883}" type="pres">
      <dgm:prSet presAssocID="{A588B9C3-CEB4-E34C-8C52-0058A77A5967}" presName="cycle" presStyleCnt="0">
        <dgm:presLayoutVars>
          <dgm:dir/>
          <dgm:resizeHandles val="exact"/>
        </dgm:presLayoutVars>
      </dgm:prSet>
      <dgm:spPr/>
    </dgm:pt>
    <dgm:pt modelId="{E7464EE5-05E1-2A4E-AF60-E276E5530F61}" type="pres">
      <dgm:prSet presAssocID="{F1D14543-F82D-C34D-9668-173C4903971A}" presName="dummy" presStyleCnt="0"/>
      <dgm:spPr/>
    </dgm:pt>
    <dgm:pt modelId="{0B4E8802-BF8B-A848-A20A-B295040CFECA}" type="pres">
      <dgm:prSet presAssocID="{F1D14543-F82D-C34D-9668-173C4903971A}" presName="node" presStyleLbl="revTx" presStyleIdx="0" presStyleCnt="4">
        <dgm:presLayoutVars>
          <dgm:bulletEnabled val="1"/>
        </dgm:presLayoutVars>
      </dgm:prSet>
      <dgm:spPr/>
    </dgm:pt>
    <dgm:pt modelId="{B3CA27BA-A25B-9340-B4F8-A7174A728D9A}" type="pres">
      <dgm:prSet presAssocID="{11B8C323-057B-6441-99A2-317BEEBE35EF}" presName="sibTrans" presStyleLbl="node1" presStyleIdx="0" presStyleCnt="4"/>
      <dgm:spPr/>
    </dgm:pt>
    <dgm:pt modelId="{1B81FA1F-3AA8-1043-8B93-D900BF74EE87}" type="pres">
      <dgm:prSet presAssocID="{45BDB10D-D8FF-1B41-95F3-E7C6E32C9832}" presName="dummy" presStyleCnt="0"/>
      <dgm:spPr/>
    </dgm:pt>
    <dgm:pt modelId="{7E9B646F-A801-F04D-9EDB-553A5A3BFCA6}" type="pres">
      <dgm:prSet presAssocID="{45BDB10D-D8FF-1B41-95F3-E7C6E32C9832}" presName="node" presStyleLbl="revTx" presStyleIdx="1" presStyleCnt="4">
        <dgm:presLayoutVars>
          <dgm:bulletEnabled val="1"/>
        </dgm:presLayoutVars>
      </dgm:prSet>
      <dgm:spPr/>
    </dgm:pt>
    <dgm:pt modelId="{249051EC-F66A-584A-A150-95ED33348B57}" type="pres">
      <dgm:prSet presAssocID="{C1CCB627-1090-BA4B-AF8D-3189971223D0}" presName="sibTrans" presStyleLbl="node1" presStyleIdx="1" presStyleCnt="4" custLinFactNeighborX="5187"/>
      <dgm:spPr/>
    </dgm:pt>
    <dgm:pt modelId="{875E946C-9A53-EB4A-8A6E-EE28410A1FBE}" type="pres">
      <dgm:prSet presAssocID="{65947C88-E531-4940-B19C-89A94C1CFB76}" presName="dummy" presStyleCnt="0"/>
      <dgm:spPr/>
    </dgm:pt>
    <dgm:pt modelId="{03627AB9-E216-8A4B-A7F7-D323A1EC49D9}" type="pres">
      <dgm:prSet presAssocID="{65947C88-E531-4940-B19C-89A94C1CFB76}" presName="node" presStyleLbl="revTx" presStyleIdx="2" presStyleCnt="4">
        <dgm:presLayoutVars>
          <dgm:bulletEnabled val="1"/>
        </dgm:presLayoutVars>
      </dgm:prSet>
      <dgm:spPr/>
    </dgm:pt>
    <dgm:pt modelId="{E4A922D6-F7F7-4049-B5C5-E7FA4E6CFF15}" type="pres">
      <dgm:prSet presAssocID="{836346A5-5AE6-CD4A-9B88-B2333DA08C01}" presName="sibTrans" presStyleLbl="node1" presStyleIdx="2" presStyleCnt="4"/>
      <dgm:spPr/>
    </dgm:pt>
    <dgm:pt modelId="{328FF0C9-C8E9-7844-82B9-8DEF6433702C}" type="pres">
      <dgm:prSet presAssocID="{540B18D2-E4E9-8949-97E2-FCFF55243BFE}" presName="dummy" presStyleCnt="0"/>
      <dgm:spPr/>
    </dgm:pt>
    <dgm:pt modelId="{825CBC42-BFBF-574B-8254-A9554F009746}" type="pres">
      <dgm:prSet presAssocID="{540B18D2-E4E9-8949-97E2-FCFF55243BFE}" presName="node" presStyleLbl="revTx" presStyleIdx="3" presStyleCnt="4">
        <dgm:presLayoutVars>
          <dgm:bulletEnabled val="1"/>
        </dgm:presLayoutVars>
      </dgm:prSet>
      <dgm:spPr/>
    </dgm:pt>
    <dgm:pt modelId="{A2B32F0D-B48E-4041-ADAB-2883F1B22FDB}" type="pres">
      <dgm:prSet presAssocID="{A14BCAAD-E29B-3E4C-A8B1-884FB66DA62E}" presName="sibTrans" presStyleLbl="node1" presStyleIdx="3" presStyleCnt="4"/>
      <dgm:spPr/>
    </dgm:pt>
  </dgm:ptLst>
  <dgm:cxnLst>
    <dgm:cxn modelId="{F6A2C82A-FB75-434A-B981-763C6E2006BC}" srcId="{A588B9C3-CEB4-E34C-8C52-0058A77A5967}" destId="{F1D14543-F82D-C34D-9668-173C4903971A}" srcOrd="0" destOrd="0" parTransId="{4D57FF92-5D3B-7140-A10D-0ACF4851BE21}" sibTransId="{11B8C323-057B-6441-99A2-317BEEBE35EF}"/>
    <dgm:cxn modelId="{2001345A-8E0B-0546-B9A4-4A5A6EE13BEF}" type="presOf" srcId="{836346A5-5AE6-CD4A-9B88-B2333DA08C01}" destId="{E4A922D6-F7F7-4049-B5C5-E7FA4E6CFF15}" srcOrd="0" destOrd="0" presId="urn:microsoft.com/office/officeart/2005/8/layout/cycle1"/>
    <dgm:cxn modelId="{A02BEB5F-7932-5841-B2D5-AD9F82247058}" type="presOf" srcId="{F1D14543-F82D-C34D-9668-173C4903971A}" destId="{0B4E8802-BF8B-A848-A20A-B295040CFECA}" srcOrd="0" destOrd="0" presId="urn:microsoft.com/office/officeart/2005/8/layout/cycle1"/>
    <dgm:cxn modelId="{81536360-B5E0-9846-AC08-419E17DA8196}" srcId="{A588B9C3-CEB4-E34C-8C52-0058A77A5967}" destId="{65947C88-E531-4940-B19C-89A94C1CFB76}" srcOrd="2" destOrd="0" parTransId="{8EBF483E-D202-7C4D-95A3-6F31F71411D0}" sibTransId="{836346A5-5AE6-CD4A-9B88-B2333DA08C01}"/>
    <dgm:cxn modelId="{CA3EA163-6E42-164E-8A5A-6C1437ADD1BF}" type="presOf" srcId="{A588B9C3-CEB4-E34C-8C52-0058A77A5967}" destId="{7B27746E-D0D9-E64F-A9ED-AB79DBD41883}" srcOrd="0" destOrd="0" presId="urn:microsoft.com/office/officeart/2005/8/layout/cycle1"/>
    <dgm:cxn modelId="{6BD3B76D-6039-CF46-873C-1D9C894BADEC}" type="presOf" srcId="{C1CCB627-1090-BA4B-AF8D-3189971223D0}" destId="{249051EC-F66A-584A-A150-95ED33348B57}" srcOrd="0" destOrd="0" presId="urn:microsoft.com/office/officeart/2005/8/layout/cycle1"/>
    <dgm:cxn modelId="{C050BD73-4541-F346-97CC-4A8ABB6FA1EE}" srcId="{A588B9C3-CEB4-E34C-8C52-0058A77A5967}" destId="{540B18D2-E4E9-8949-97E2-FCFF55243BFE}" srcOrd="3" destOrd="0" parTransId="{6C946167-0D90-AB48-8A46-B0A37F3B89C3}" sibTransId="{A14BCAAD-E29B-3E4C-A8B1-884FB66DA62E}"/>
    <dgm:cxn modelId="{D364428A-3215-7847-8B15-0497D40FE155}" type="presOf" srcId="{A14BCAAD-E29B-3E4C-A8B1-884FB66DA62E}" destId="{A2B32F0D-B48E-4041-ADAB-2883F1B22FDB}" srcOrd="0" destOrd="0" presId="urn:microsoft.com/office/officeart/2005/8/layout/cycle1"/>
    <dgm:cxn modelId="{E2DD008D-BD9F-B545-915A-64B8A92A82EA}" type="presOf" srcId="{11B8C323-057B-6441-99A2-317BEEBE35EF}" destId="{B3CA27BA-A25B-9340-B4F8-A7174A728D9A}" srcOrd="0" destOrd="0" presId="urn:microsoft.com/office/officeart/2005/8/layout/cycle1"/>
    <dgm:cxn modelId="{DF7AC39E-8904-174C-B849-5B3D8D3D73E2}" type="presOf" srcId="{45BDB10D-D8FF-1B41-95F3-E7C6E32C9832}" destId="{7E9B646F-A801-F04D-9EDB-553A5A3BFCA6}" srcOrd="0" destOrd="0" presId="urn:microsoft.com/office/officeart/2005/8/layout/cycle1"/>
    <dgm:cxn modelId="{F0E73BD8-4600-484D-AADD-20FC0B206D61}" type="presOf" srcId="{65947C88-E531-4940-B19C-89A94C1CFB76}" destId="{03627AB9-E216-8A4B-A7F7-D323A1EC49D9}" srcOrd="0" destOrd="0" presId="urn:microsoft.com/office/officeart/2005/8/layout/cycle1"/>
    <dgm:cxn modelId="{FA82BCEC-A8AA-D14F-B9CB-A759877B1E91}" srcId="{A588B9C3-CEB4-E34C-8C52-0058A77A5967}" destId="{45BDB10D-D8FF-1B41-95F3-E7C6E32C9832}" srcOrd="1" destOrd="0" parTransId="{7FC090E0-0471-CD47-A4F2-F8AF709FC9F0}" sibTransId="{C1CCB627-1090-BA4B-AF8D-3189971223D0}"/>
    <dgm:cxn modelId="{7F8345F7-6B2C-7445-BDB8-99166A374B17}" type="presOf" srcId="{540B18D2-E4E9-8949-97E2-FCFF55243BFE}" destId="{825CBC42-BFBF-574B-8254-A9554F009746}" srcOrd="0" destOrd="0" presId="urn:microsoft.com/office/officeart/2005/8/layout/cycle1"/>
    <dgm:cxn modelId="{7F1DC225-1F4A-F542-9A9A-DA85CFB9D7B7}" type="presParOf" srcId="{7B27746E-D0D9-E64F-A9ED-AB79DBD41883}" destId="{E7464EE5-05E1-2A4E-AF60-E276E5530F61}" srcOrd="0" destOrd="0" presId="urn:microsoft.com/office/officeart/2005/8/layout/cycle1"/>
    <dgm:cxn modelId="{AA8D4FA1-F529-AB4B-AB25-E319857240B7}" type="presParOf" srcId="{7B27746E-D0D9-E64F-A9ED-AB79DBD41883}" destId="{0B4E8802-BF8B-A848-A20A-B295040CFECA}" srcOrd="1" destOrd="0" presId="urn:microsoft.com/office/officeart/2005/8/layout/cycle1"/>
    <dgm:cxn modelId="{F3669AE1-B213-B640-AF0B-ACC114064B85}" type="presParOf" srcId="{7B27746E-D0D9-E64F-A9ED-AB79DBD41883}" destId="{B3CA27BA-A25B-9340-B4F8-A7174A728D9A}" srcOrd="2" destOrd="0" presId="urn:microsoft.com/office/officeart/2005/8/layout/cycle1"/>
    <dgm:cxn modelId="{8A9BEEF8-FB54-EA46-83EC-36DFB47059FD}" type="presParOf" srcId="{7B27746E-D0D9-E64F-A9ED-AB79DBD41883}" destId="{1B81FA1F-3AA8-1043-8B93-D900BF74EE87}" srcOrd="3" destOrd="0" presId="urn:microsoft.com/office/officeart/2005/8/layout/cycle1"/>
    <dgm:cxn modelId="{76A8A7F4-77E3-AF4C-997D-9A81F92FC407}" type="presParOf" srcId="{7B27746E-D0D9-E64F-A9ED-AB79DBD41883}" destId="{7E9B646F-A801-F04D-9EDB-553A5A3BFCA6}" srcOrd="4" destOrd="0" presId="urn:microsoft.com/office/officeart/2005/8/layout/cycle1"/>
    <dgm:cxn modelId="{8362C841-E36D-7141-8D6B-2C6C5C6EF70E}" type="presParOf" srcId="{7B27746E-D0D9-E64F-A9ED-AB79DBD41883}" destId="{249051EC-F66A-584A-A150-95ED33348B57}" srcOrd="5" destOrd="0" presId="urn:microsoft.com/office/officeart/2005/8/layout/cycle1"/>
    <dgm:cxn modelId="{7904C0F5-8458-864A-80A8-BBCE7F727C65}" type="presParOf" srcId="{7B27746E-D0D9-E64F-A9ED-AB79DBD41883}" destId="{875E946C-9A53-EB4A-8A6E-EE28410A1FBE}" srcOrd="6" destOrd="0" presId="urn:microsoft.com/office/officeart/2005/8/layout/cycle1"/>
    <dgm:cxn modelId="{A458539D-AAC9-564B-A2F7-8AAD448E71F9}" type="presParOf" srcId="{7B27746E-D0D9-E64F-A9ED-AB79DBD41883}" destId="{03627AB9-E216-8A4B-A7F7-D323A1EC49D9}" srcOrd="7" destOrd="0" presId="urn:microsoft.com/office/officeart/2005/8/layout/cycle1"/>
    <dgm:cxn modelId="{662BDA0A-2748-1440-961F-F0F3F4469A25}" type="presParOf" srcId="{7B27746E-D0D9-E64F-A9ED-AB79DBD41883}" destId="{E4A922D6-F7F7-4049-B5C5-E7FA4E6CFF15}" srcOrd="8" destOrd="0" presId="urn:microsoft.com/office/officeart/2005/8/layout/cycle1"/>
    <dgm:cxn modelId="{F7967E47-0F31-5B43-858F-57A2E971157D}" type="presParOf" srcId="{7B27746E-D0D9-E64F-A9ED-AB79DBD41883}" destId="{328FF0C9-C8E9-7844-82B9-8DEF6433702C}" srcOrd="9" destOrd="0" presId="urn:microsoft.com/office/officeart/2005/8/layout/cycle1"/>
    <dgm:cxn modelId="{BE97A8B0-3334-294E-8F10-398B6A7170DE}" type="presParOf" srcId="{7B27746E-D0D9-E64F-A9ED-AB79DBD41883}" destId="{825CBC42-BFBF-574B-8254-A9554F009746}" srcOrd="10" destOrd="0" presId="urn:microsoft.com/office/officeart/2005/8/layout/cycle1"/>
    <dgm:cxn modelId="{4E652C8B-9B85-7144-980C-0E035A6CD171}" type="presParOf" srcId="{7B27746E-D0D9-E64F-A9ED-AB79DBD41883}" destId="{A2B32F0D-B48E-4041-ADAB-2883F1B22FDB}" srcOrd="11" destOrd="0" presId="urn:microsoft.com/office/officeart/2005/8/layout/cycle1"/>
  </dgm:cxnLst>
  <dgm:bg/>
  <dgm:whole/>
  <dgm:extLst>
    <a:ext uri="http://schemas.microsoft.com/office/drawing/2008/diagram">
      <dsp:dataModelExt xmlns:dsp="http://schemas.microsoft.com/office/drawing/2008/diagram" relId="rId38"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A588B9C3-CEB4-E34C-8C52-0058A77A5967}" type="doc">
      <dgm:prSet loTypeId="urn:microsoft.com/office/officeart/2005/8/layout/cycle1" loCatId="" qsTypeId="urn:microsoft.com/office/officeart/2005/8/quickstyle/simple4" qsCatId="simple" csTypeId="urn:microsoft.com/office/officeart/2005/8/colors/accent1_2" csCatId="accent1" phldr="1"/>
      <dgm:spPr/>
      <dgm:t>
        <a:bodyPr/>
        <a:lstStyle/>
        <a:p>
          <a:endParaRPr lang="en-US"/>
        </a:p>
      </dgm:t>
    </dgm:pt>
    <dgm:pt modelId="{F1D14543-F82D-C34D-9668-173C4903971A}">
      <dgm:prSet phldrT="[Text]"/>
      <dgm:spPr/>
      <dgm:t>
        <a:bodyPr/>
        <a:lstStyle/>
        <a:p>
          <a:r>
            <a:rPr lang="en-US" dirty="0"/>
            <a:t>D</a:t>
          </a:r>
        </a:p>
      </dgm:t>
    </dgm:pt>
    <dgm:pt modelId="{4D57FF92-5D3B-7140-A10D-0ACF4851BE21}" type="parTrans" cxnId="{F6A2C82A-FB75-434A-B981-763C6E2006BC}">
      <dgm:prSet/>
      <dgm:spPr/>
      <dgm:t>
        <a:bodyPr/>
        <a:lstStyle/>
        <a:p>
          <a:endParaRPr lang="en-US"/>
        </a:p>
      </dgm:t>
    </dgm:pt>
    <dgm:pt modelId="{11B8C323-057B-6441-99A2-317BEEBE35EF}" type="sibTrans" cxnId="{F6A2C82A-FB75-434A-B981-763C6E2006BC}">
      <dgm:prSet/>
      <dgm:spPr>
        <a:solidFill>
          <a:schemeClr val="accent1"/>
        </a:solidFill>
        <a:effectLst/>
      </dgm:spPr>
      <dgm:t>
        <a:bodyPr/>
        <a:lstStyle/>
        <a:p>
          <a:endParaRPr lang="en-US"/>
        </a:p>
      </dgm:t>
    </dgm:pt>
    <dgm:pt modelId="{45BDB10D-D8FF-1B41-95F3-E7C6E32C9832}">
      <dgm:prSet phldrT="[Text]"/>
      <dgm:spPr/>
      <dgm:t>
        <a:bodyPr/>
        <a:lstStyle/>
        <a:p>
          <a:r>
            <a:rPr lang="en-US" dirty="0"/>
            <a:t>C</a:t>
          </a:r>
        </a:p>
      </dgm:t>
    </dgm:pt>
    <dgm:pt modelId="{7FC090E0-0471-CD47-A4F2-F8AF709FC9F0}" type="parTrans" cxnId="{FA82BCEC-A8AA-D14F-B9CB-A759877B1E91}">
      <dgm:prSet/>
      <dgm:spPr/>
      <dgm:t>
        <a:bodyPr/>
        <a:lstStyle/>
        <a:p>
          <a:endParaRPr lang="en-US"/>
        </a:p>
      </dgm:t>
    </dgm:pt>
    <dgm:pt modelId="{C1CCB627-1090-BA4B-AF8D-3189971223D0}" type="sibTrans" cxnId="{FA82BCEC-A8AA-D14F-B9CB-A759877B1E91}">
      <dgm:prSet/>
      <dgm:spPr>
        <a:solidFill>
          <a:schemeClr val="accent1"/>
        </a:solidFill>
        <a:effectLst/>
      </dgm:spPr>
      <dgm:t>
        <a:bodyPr/>
        <a:lstStyle/>
        <a:p>
          <a:endParaRPr lang="en-US"/>
        </a:p>
      </dgm:t>
    </dgm:pt>
    <dgm:pt modelId="{65947C88-E531-4940-B19C-89A94C1CFB76}">
      <dgm:prSet phldrT="[Text]"/>
      <dgm:spPr/>
      <dgm:t>
        <a:bodyPr/>
        <a:lstStyle/>
        <a:p>
          <a:r>
            <a:rPr lang="en-US" dirty="0"/>
            <a:t>A</a:t>
          </a:r>
        </a:p>
      </dgm:t>
    </dgm:pt>
    <dgm:pt modelId="{8EBF483E-D202-7C4D-95A3-6F31F71411D0}" type="parTrans" cxnId="{81536360-B5E0-9846-AC08-419E17DA8196}">
      <dgm:prSet/>
      <dgm:spPr/>
      <dgm:t>
        <a:bodyPr/>
        <a:lstStyle/>
        <a:p>
          <a:endParaRPr lang="en-US"/>
        </a:p>
      </dgm:t>
    </dgm:pt>
    <dgm:pt modelId="{836346A5-5AE6-CD4A-9B88-B2333DA08C01}" type="sibTrans" cxnId="{81536360-B5E0-9846-AC08-419E17DA8196}">
      <dgm:prSet/>
      <dgm:spPr>
        <a:solidFill>
          <a:schemeClr val="accent1"/>
        </a:solidFill>
        <a:effectLst/>
      </dgm:spPr>
      <dgm:t>
        <a:bodyPr/>
        <a:lstStyle/>
        <a:p>
          <a:endParaRPr lang="en-US"/>
        </a:p>
      </dgm:t>
    </dgm:pt>
    <dgm:pt modelId="{540B18D2-E4E9-8949-97E2-FCFF55243BFE}">
      <dgm:prSet phldrT="[Text]"/>
      <dgm:spPr/>
      <dgm:t>
        <a:bodyPr/>
        <a:lstStyle/>
        <a:p>
          <a:r>
            <a:rPr lang="en-US" dirty="0"/>
            <a:t>P</a:t>
          </a:r>
        </a:p>
      </dgm:t>
    </dgm:pt>
    <dgm:pt modelId="{6C946167-0D90-AB48-8A46-B0A37F3B89C3}" type="parTrans" cxnId="{C050BD73-4541-F346-97CC-4A8ABB6FA1EE}">
      <dgm:prSet/>
      <dgm:spPr/>
      <dgm:t>
        <a:bodyPr/>
        <a:lstStyle/>
        <a:p>
          <a:endParaRPr lang="en-US"/>
        </a:p>
      </dgm:t>
    </dgm:pt>
    <dgm:pt modelId="{A14BCAAD-E29B-3E4C-A8B1-884FB66DA62E}" type="sibTrans" cxnId="{C050BD73-4541-F346-97CC-4A8ABB6FA1EE}">
      <dgm:prSet/>
      <dgm:spPr>
        <a:solidFill>
          <a:schemeClr val="accent1"/>
        </a:solidFill>
        <a:effectLst/>
      </dgm:spPr>
      <dgm:t>
        <a:bodyPr/>
        <a:lstStyle/>
        <a:p>
          <a:endParaRPr lang="en-US"/>
        </a:p>
      </dgm:t>
    </dgm:pt>
    <dgm:pt modelId="{7B27746E-D0D9-E64F-A9ED-AB79DBD41883}" type="pres">
      <dgm:prSet presAssocID="{A588B9C3-CEB4-E34C-8C52-0058A77A5967}" presName="cycle" presStyleCnt="0">
        <dgm:presLayoutVars>
          <dgm:dir/>
          <dgm:resizeHandles val="exact"/>
        </dgm:presLayoutVars>
      </dgm:prSet>
      <dgm:spPr/>
    </dgm:pt>
    <dgm:pt modelId="{E7464EE5-05E1-2A4E-AF60-E276E5530F61}" type="pres">
      <dgm:prSet presAssocID="{F1D14543-F82D-C34D-9668-173C4903971A}" presName="dummy" presStyleCnt="0"/>
      <dgm:spPr/>
    </dgm:pt>
    <dgm:pt modelId="{0B4E8802-BF8B-A848-A20A-B295040CFECA}" type="pres">
      <dgm:prSet presAssocID="{F1D14543-F82D-C34D-9668-173C4903971A}" presName="node" presStyleLbl="revTx" presStyleIdx="0" presStyleCnt="4">
        <dgm:presLayoutVars>
          <dgm:bulletEnabled val="1"/>
        </dgm:presLayoutVars>
      </dgm:prSet>
      <dgm:spPr/>
    </dgm:pt>
    <dgm:pt modelId="{B3CA27BA-A25B-9340-B4F8-A7174A728D9A}" type="pres">
      <dgm:prSet presAssocID="{11B8C323-057B-6441-99A2-317BEEBE35EF}" presName="sibTrans" presStyleLbl="node1" presStyleIdx="0" presStyleCnt="4"/>
      <dgm:spPr/>
    </dgm:pt>
    <dgm:pt modelId="{1B81FA1F-3AA8-1043-8B93-D900BF74EE87}" type="pres">
      <dgm:prSet presAssocID="{45BDB10D-D8FF-1B41-95F3-E7C6E32C9832}" presName="dummy" presStyleCnt="0"/>
      <dgm:spPr/>
    </dgm:pt>
    <dgm:pt modelId="{7E9B646F-A801-F04D-9EDB-553A5A3BFCA6}" type="pres">
      <dgm:prSet presAssocID="{45BDB10D-D8FF-1B41-95F3-E7C6E32C9832}" presName="node" presStyleLbl="revTx" presStyleIdx="1" presStyleCnt="4">
        <dgm:presLayoutVars>
          <dgm:bulletEnabled val="1"/>
        </dgm:presLayoutVars>
      </dgm:prSet>
      <dgm:spPr/>
    </dgm:pt>
    <dgm:pt modelId="{249051EC-F66A-584A-A150-95ED33348B57}" type="pres">
      <dgm:prSet presAssocID="{C1CCB627-1090-BA4B-AF8D-3189971223D0}" presName="sibTrans" presStyleLbl="node1" presStyleIdx="1" presStyleCnt="4" custLinFactNeighborX="5187"/>
      <dgm:spPr/>
    </dgm:pt>
    <dgm:pt modelId="{875E946C-9A53-EB4A-8A6E-EE28410A1FBE}" type="pres">
      <dgm:prSet presAssocID="{65947C88-E531-4940-B19C-89A94C1CFB76}" presName="dummy" presStyleCnt="0"/>
      <dgm:spPr/>
    </dgm:pt>
    <dgm:pt modelId="{03627AB9-E216-8A4B-A7F7-D323A1EC49D9}" type="pres">
      <dgm:prSet presAssocID="{65947C88-E531-4940-B19C-89A94C1CFB76}" presName="node" presStyleLbl="revTx" presStyleIdx="2" presStyleCnt="4">
        <dgm:presLayoutVars>
          <dgm:bulletEnabled val="1"/>
        </dgm:presLayoutVars>
      </dgm:prSet>
      <dgm:spPr/>
    </dgm:pt>
    <dgm:pt modelId="{E4A922D6-F7F7-4049-B5C5-E7FA4E6CFF15}" type="pres">
      <dgm:prSet presAssocID="{836346A5-5AE6-CD4A-9B88-B2333DA08C01}" presName="sibTrans" presStyleLbl="node1" presStyleIdx="2" presStyleCnt="4"/>
      <dgm:spPr/>
    </dgm:pt>
    <dgm:pt modelId="{328FF0C9-C8E9-7844-82B9-8DEF6433702C}" type="pres">
      <dgm:prSet presAssocID="{540B18D2-E4E9-8949-97E2-FCFF55243BFE}" presName="dummy" presStyleCnt="0"/>
      <dgm:spPr/>
    </dgm:pt>
    <dgm:pt modelId="{825CBC42-BFBF-574B-8254-A9554F009746}" type="pres">
      <dgm:prSet presAssocID="{540B18D2-E4E9-8949-97E2-FCFF55243BFE}" presName="node" presStyleLbl="revTx" presStyleIdx="3" presStyleCnt="4">
        <dgm:presLayoutVars>
          <dgm:bulletEnabled val="1"/>
        </dgm:presLayoutVars>
      </dgm:prSet>
      <dgm:spPr/>
    </dgm:pt>
    <dgm:pt modelId="{A2B32F0D-B48E-4041-ADAB-2883F1B22FDB}" type="pres">
      <dgm:prSet presAssocID="{A14BCAAD-E29B-3E4C-A8B1-884FB66DA62E}" presName="sibTrans" presStyleLbl="node1" presStyleIdx="3" presStyleCnt="4"/>
      <dgm:spPr/>
    </dgm:pt>
  </dgm:ptLst>
  <dgm:cxnLst>
    <dgm:cxn modelId="{63927B1C-81A7-4640-8827-1B81D544727D}" type="presOf" srcId="{11B8C323-057B-6441-99A2-317BEEBE35EF}" destId="{B3CA27BA-A25B-9340-B4F8-A7174A728D9A}" srcOrd="0" destOrd="0" presId="urn:microsoft.com/office/officeart/2005/8/layout/cycle1"/>
    <dgm:cxn modelId="{F6A2C82A-FB75-434A-B981-763C6E2006BC}" srcId="{A588B9C3-CEB4-E34C-8C52-0058A77A5967}" destId="{F1D14543-F82D-C34D-9668-173C4903971A}" srcOrd="0" destOrd="0" parTransId="{4D57FF92-5D3B-7140-A10D-0ACF4851BE21}" sibTransId="{11B8C323-057B-6441-99A2-317BEEBE35EF}"/>
    <dgm:cxn modelId="{B03CAA58-1933-E446-A5BD-237F95E51992}" type="presOf" srcId="{A14BCAAD-E29B-3E4C-A8B1-884FB66DA62E}" destId="{A2B32F0D-B48E-4041-ADAB-2883F1B22FDB}" srcOrd="0" destOrd="0" presId="urn:microsoft.com/office/officeart/2005/8/layout/cycle1"/>
    <dgm:cxn modelId="{81536360-B5E0-9846-AC08-419E17DA8196}" srcId="{A588B9C3-CEB4-E34C-8C52-0058A77A5967}" destId="{65947C88-E531-4940-B19C-89A94C1CFB76}" srcOrd="2" destOrd="0" parTransId="{8EBF483E-D202-7C4D-95A3-6F31F71411D0}" sibTransId="{836346A5-5AE6-CD4A-9B88-B2333DA08C01}"/>
    <dgm:cxn modelId="{71021965-DCD1-0E46-BDC9-FEE176A6AAE5}" type="presOf" srcId="{65947C88-E531-4940-B19C-89A94C1CFB76}" destId="{03627AB9-E216-8A4B-A7F7-D323A1EC49D9}" srcOrd="0" destOrd="0" presId="urn:microsoft.com/office/officeart/2005/8/layout/cycle1"/>
    <dgm:cxn modelId="{678FFA68-9C2C-8E4D-8918-AA9BF08C8362}" type="presOf" srcId="{836346A5-5AE6-CD4A-9B88-B2333DA08C01}" destId="{E4A922D6-F7F7-4049-B5C5-E7FA4E6CFF15}" srcOrd="0" destOrd="0" presId="urn:microsoft.com/office/officeart/2005/8/layout/cycle1"/>
    <dgm:cxn modelId="{52366972-726C-B24A-A8DE-260AB5BCA654}" type="presOf" srcId="{F1D14543-F82D-C34D-9668-173C4903971A}" destId="{0B4E8802-BF8B-A848-A20A-B295040CFECA}" srcOrd="0" destOrd="0" presId="urn:microsoft.com/office/officeart/2005/8/layout/cycle1"/>
    <dgm:cxn modelId="{C050BD73-4541-F346-97CC-4A8ABB6FA1EE}" srcId="{A588B9C3-CEB4-E34C-8C52-0058A77A5967}" destId="{540B18D2-E4E9-8949-97E2-FCFF55243BFE}" srcOrd="3" destOrd="0" parTransId="{6C946167-0D90-AB48-8A46-B0A37F3B89C3}" sibTransId="{A14BCAAD-E29B-3E4C-A8B1-884FB66DA62E}"/>
    <dgm:cxn modelId="{CB591C83-F952-904B-80A1-F3E7761619CA}" type="presOf" srcId="{45BDB10D-D8FF-1B41-95F3-E7C6E32C9832}" destId="{7E9B646F-A801-F04D-9EDB-553A5A3BFCA6}" srcOrd="0" destOrd="0" presId="urn:microsoft.com/office/officeart/2005/8/layout/cycle1"/>
    <dgm:cxn modelId="{884602A9-5B3F-434E-ACCF-8A28ED131B31}" type="presOf" srcId="{C1CCB627-1090-BA4B-AF8D-3189971223D0}" destId="{249051EC-F66A-584A-A150-95ED33348B57}" srcOrd="0" destOrd="0" presId="urn:microsoft.com/office/officeart/2005/8/layout/cycle1"/>
    <dgm:cxn modelId="{C94600CF-26D8-E843-AA8A-AC6480345D55}" type="presOf" srcId="{A588B9C3-CEB4-E34C-8C52-0058A77A5967}" destId="{7B27746E-D0D9-E64F-A9ED-AB79DBD41883}" srcOrd="0" destOrd="0" presId="urn:microsoft.com/office/officeart/2005/8/layout/cycle1"/>
    <dgm:cxn modelId="{FA82BCEC-A8AA-D14F-B9CB-A759877B1E91}" srcId="{A588B9C3-CEB4-E34C-8C52-0058A77A5967}" destId="{45BDB10D-D8FF-1B41-95F3-E7C6E32C9832}" srcOrd="1" destOrd="0" parTransId="{7FC090E0-0471-CD47-A4F2-F8AF709FC9F0}" sibTransId="{C1CCB627-1090-BA4B-AF8D-3189971223D0}"/>
    <dgm:cxn modelId="{94C7EBF2-78A2-014C-82C5-347454AE938B}" type="presOf" srcId="{540B18D2-E4E9-8949-97E2-FCFF55243BFE}" destId="{825CBC42-BFBF-574B-8254-A9554F009746}" srcOrd="0" destOrd="0" presId="urn:microsoft.com/office/officeart/2005/8/layout/cycle1"/>
    <dgm:cxn modelId="{B0AF667D-88DC-F043-AA2D-3CEAD7470BFB}" type="presParOf" srcId="{7B27746E-D0D9-E64F-A9ED-AB79DBD41883}" destId="{E7464EE5-05E1-2A4E-AF60-E276E5530F61}" srcOrd="0" destOrd="0" presId="urn:microsoft.com/office/officeart/2005/8/layout/cycle1"/>
    <dgm:cxn modelId="{6E62D353-799A-EE42-B3BF-55326A4B44D6}" type="presParOf" srcId="{7B27746E-D0D9-E64F-A9ED-AB79DBD41883}" destId="{0B4E8802-BF8B-A848-A20A-B295040CFECA}" srcOrd="1" destOrd="0" presId="urn:microsoft.com/office/officeart/2005/8/layout/cycle1"/>
    <dgm:cxn modelId="{37979E0B-F5A6-6441-97FF-BDFA30160C19}" type="presParOf" srcId="{7B27746E-D0D9-E64F-A9ED-AB79DBD41883}" destId="{B3CA27BA-A25B-9340-B4F8-A7174A728D9A}" srcOrd="2" destOrd="0" presId="urn:microsoft.com/office/officeart/2005/8/layout/cycle1"/>
    <dgm:cxn modelId="{2C1A26A1-81B1-5F47-B85C-389463C6A82E}" type="presParOf" srcId="{7B27746E-D0D9-E64F-A9ED-AB79DBD41883}" destId="{1B81FA1F-3AA8-1043-8B93-D900BF74EE87}" srcOrd="3" destOrd="0" presId="urn:microsoft.com/office/officeart/2005/8/layout/cycle1"/>
    <dgm:cxn modelId="{20D72EFE-A095-9D48-B323-15190458A2E0}" type="presParOf" srcId="{7B27746E-D0D9-E64F-A9ED-AB79DBD41883}" destId="{7E9B646F-A801-F04D-9EDB-553A5A3BFCA6}" srcOrd="4" destOrd="0" presId="urn:microsoft.com/office/officeart/2005/8/layout/cycle1"/>
    <dgm:cxn modelId="{ACFDD21F-B33A-2D45-ACB0-E08629942FEC}" type="presParOf" srcId="{7B27746E-D0D9-E64F-A9ED-AB79DBD41883}" destId="{249051EC-F66A-584A-A150-95ED33348B57}" srcOrd="5" destOrd="0" presId="urn:microsoft.com/office/officeart/2005/8/layout/cycle1"/>
    <dgm:cxn modelId="{0888FFD2-EC8D-AF4B-8C32-A1E5308D9858}" type="presParOf" srcId="{7B27746E-D0D9-E64F-A9ED-AB79DBD41883}" destId="{875E946C-9A53-EB4A-8A6E-EE28410A1FBE}" srcOrd="6" destOrd="0" presId="urn:microsoft.com/office/officeart/2005/8/layout/cycle1"/>
    <dgm:cxn modelId="{6A82DAAB-5599-0D44-B20A-92888B152FCE}" type="presParOf" srcId="{7B27746E-D0D9-E64F-A9ED-AB79DBD41883}" destId="{03627AB9-E216-8A4B-A7F7-D323A1EC49D9}" srcOrd="7" destOrd="0" presId="urn:microsoft.com/office/officeart/2005/8/layout/cycle1"/>
    <dgm:cxn modelId="{E9FAF0F8-2D4F-D542-BA5B-60906AC3A2F6}" type="presParOf" srcId="{7B27746E-D0D9-E64F-A9ED-AB79DBD41883}" destId="{E4A922D6-F7F7-4049-B5C5-E7FA4E6CFF15}" srcOrd="8" destOrd="0" presId="urn:microsoft.com/office/officeart/2005/8/layout/cycle1"/>
    <dgm:cxn modelId="{62DF9EF5-F9E5-5648-A417-AB49E8D40DF6}" type="presParOf" srcId="{7B27746E-D0D9-E64F-A9ED-AB79DBD41883}" destId="{328FF0C9-C8E9-7844-82B9-8DEF6433702C}" srcOrd="9" destOrd="0" presId="urn:microsoft.com/office/officeart/2005/8/layout/cycle1"/>
    <dgm:cxn modelId="{B44F4C22-4E9B-B84E-9ED5-4E0D15FEA24D}" type="presParOf" srcId="{7B27746E-D0D9-E64F-A9ED-AB79DBD41883}" destId="{825CBC42-BFBF-574B-8254-A9554F009746}" srcOrd="10" destOrd="0" presId="urn:microsoft.com/office/officeart/2005/8/layout/cycle1"/>
    <dgm:cxn modelId="{808792E7-72A7-DA4B-A6B2-8FC7B2206BC6}" type="presParOf" srcId="{7B27746E-D0D9-E64F-A9ED-AB79DBD41883}" destId="{A2B32F0D-B48E-4041-ADAB-2883F1B22FDB}" srcOrd="11" destOrd="0" presId="urn:microsoft.com/office/officeart/2005/8/layout/cycle1"/>
  </dgm:cxnLst>
  <dgm:bg/>
  <dgm:whole/>
  <dgm:extLst>
    <a:ext uri="http://schemas.microsoft.com/office/drawing/2008/diagram">
      <dsp:dataModelExt xmlns:dsp="http://schemas.microsoft.com/office/drawing/2008/diagram" relId="rId43"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BC0829A-274A-8744-98CB-44790541ADB3}">
      <dsp:nvSpPr>
        <dsp:cNvPr id="0" name=""/>
        <dsp:cNvSpPr/>
      </dsp:nvSpPr>
      <dsp:spPr>
        <a:xfrm>
          <a:off x="1248511" y="35826"/>
          <a:ext cx="575030" cy="5750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dirty="0"/>
            <a:t>Do</a:t>
          </a:r>
        </a:p>
      </dsp:txBody>
      <dsp:txXfrm>
        <a:off x="1248511" y="35826"/>
        <a:ext cx="575030" cy="575030"/>
      </dsp:txXfrm>
    </dsp:sp>
    <dsp:sp modelId="{B7464E82-40D2-F541-ACEE-BAD62C61D323}">
      <dsp:nvSpPr>
        <dsp:cNvPr id="0" name=""/>
        <dsp:cNvSpPr/>
      </dsp:nvSpPr>
      <dsp:spPr>
        <a:xfrm>
          <a:off x="235730" y="-386"/>
          <a:ext cx="1624025" cy="1624025"/>
        </a:xfrm>
        <a:prstGeom prst="circularArrow">
          <a:avLst>
            <a:gd name="adj1" fmla="val 6905"/>
            <a:gd name="adj2" fmla="val 465547"/>
            <a:gd name="adj3" fmla="val 548597"/>
            <a:gd name="adj4" fmla="val 20585857"/>
            <a:gd name="adj5" fmla="val 8055"/>
          </a:avLst>
        </a:prstGeom>
        <a:solidFill>
          <a:schemeClr val="bg2">
            <a:lumMod val="50000"/>
          </a:schemeClr>
        </a:solidFill>
        <a:ln>
          <a:noFill/>
        </a:ln>
        <a:effectLst/>
      </dsp:spPr>
      <dsp:style>
        <a:lnRef idx="0">
          <a:scrgbClr r="0" g="0" b="0"/>
        </a:lnRef>
        <a:fillRef idx="3">
          <a:scrgbClr r="0" g="0" b="0"/>
        </a:fillRef>
        <a:effectRef idx="2">
          <a:scrgbClr r="0" g="0" b="0"/>
        </a:effectRef>
        <a:fontRef idx="minor">
          <a:schemeClr val="lt1"/>
        </a:fontRef>
      </dsp:style>
    </dsp:sp>
    <dsp:sp modelId="{42D0F23A-99C2-874B-8F3C-B9891A026658}">
      <dsp:nvSpPr>
        <dsp:cNvPr id="0" name=""/>
        <dsp:cNvSpPr/>
      </dsp:nvSpPr>
      <dsp:spPr>
        <a:xfrm>
          <a:off x="1248511" y="1012394"/>
          <a:ext cx="575030" cy="5750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dirty="0"/>
            <a:t>Check</a:t>
          </a:r>
        </a:p>
      </dsp:txBody>
      <dsp:txXfrm>
        <a:off x="1248511" y="1012394"/>
        <a:ext cx="575030" cy="575030"/>
      </dsp:txXfrm>
    </dsp:sp>
    <dsp:sp modelId="{B1C69493-9881-2F43-90D5-717D96F6294D}">
      <dsp:nvSpPr>
        <dsp:cNvPr id="0" name=""/>
        <dsp:cNvSpPr/>
      </dsp:nvSpPr>
      <dsp:spPr>
        <a:xfrm>
          <a:off x="235730" y="-386"/>
          <a:ext cx="1624025" cy="1624025"/>
        </a:xfrm>
        <a:prstGeom prst="circularArrow">
          <a:avLst>
            <a:gd name="adj1" fmla="val 6905"/>
            <a:gd name="adj2" fmla="val 465547"/>
            <a:gd name="adj3" fmla="val 5948597"/>
            <a:gd name="adj4" fmla="val 4385857"/>
            <a:gd name="adj5" fmla="val 8055"/>
          </a:avLst>
        </a:prstGeom>
        <a:solidFill>
          <a:schemeClr val="bg2">
            <a:lumMod val="50000"/>
          </a:schemeClr>
        </a:solidFill>
        <a:ln>
          <a:noFill/>
        </a:ln>
        <a:effectLst/>
      </dsp:spPr>
      <dsp:style>
        <a:lnRef idx="0">
          <a:scrgbClr r="0" g="0" b="0"/>
        </a:lnRef>
        <a:fillRef idx="3">
          <a:scrgbClr r="0" g="0" b="0"/>
        </a:fillRef>
        <a:effectRef idx="2">
          <a:scrgbClr r="0" g="0" b="0"/>
        </a:effectRef>
        <a:fontRef idx="minor">
          <a:schemeClr val="lt1"/>
        </a:fontRef>
      </dsp:style>
    </dsp:sp>
    <dsp:sp modelId="{70167A6C-CDD2-C844-8F3E-06B3C30FF12F}">
      <dsp:nvSpPr>
        <dsp:cNvPr id="0" name=""/>
        <dsp:cNvSpPr/>
      </dsp:nvSpPr>
      <dsp:spPr>
        <a:xfrm>
          <a:off x="271943" y="1012394"/>
          <a:ext cx="575030" cy="5750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dirty="0"/>
            <a:t>Adjust</a:t>
          </a:r>
        </a:p>
      </dsp:txBody>
      <dsp:txXfrm>
        <a:off x="271943" y="1012394"/>
        <a:ext cx="575030" cy="575030"/>
      </dsp:txXfrm>
    </dsp:sp>
    <dsp:sp modelId="{267064E2-B0F4-EF43-89FE-832CBD9B8DD1}">
      <dsp:nvSpPr>
        <dsp:cNvPr id="0" name=""/>
        <dsp:cNvSpPr/>
      </dsp:nvSpPr>
      <dsp:spPr>
        <a:xfrm>
          <a:off x="235730" y="-386"/>
          <a:ext cx="1624025" cy="1624025"/>
        </a:xfrm>
        <a:prstGeom prst="circularArrow">
          <a:avLst>
            <a:gd name="adj1" fmla="val 6905"/>
            <a:gd name="adj2" fmla="val 465547"/>
            <a:gd name="adj3" fmla="val 11348597"/>
            <a:gd name="adj4" fmla="val 9785857"/>
            <a:gd name="adj5" fmla="val 8055"/>
          </a:avLst>
        </a:prstGeom>
        <a:solidFill>
          <a:schemeClr val="bg2">
            <a:lumMod val="50000"/>
          </a:schemeClr>
        </a:solidFill>
        <a:ln>
          <a:noFill/>
        </a:ln>
        <a:effectLst/>
      </dsp:spPr>
      <dsp:style>
        <a:lnRef idx="0">
          <a:scrgbClr r="0" g="0" b="0"/>
        </a:lnRef>
        <a:fillRef idx="3">
          <a:scrgbClr r="0" g="0" b="0"/>
        </a:fillRef>
        <a:effectRef idx="2">
          <a:scrgbClr r="0" g="0" b="0"/>
        </a:effectRef>
        <a:fontRef idx="minor">
          <a:schemeClr val="lt1"/>
        </a:fontRef>
      </dsp:style>
    </dsp:sp>
    <dsp:sp modelId="{6C24B5F2-59F5-3B4A-B7C4-22DF14124EEA}">
      <dsp:nvSpPr>
        <dsp:cNvPr id="0" name=""/>
        <dsp:cNvSpPr/>
      </dsp:nvSpPr>
      <dsp:spPr>
        <a:xfrm>
          <a:off x="271943" y="35826"/>
          <a:ext cx="575030" cy="5750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dirty="0"/>
            <a:t>Plan</a:t>
          </a:r>
        </a:p>
      </dsp:txBody>
      <dsp:txXfrm>
        <a:off x="271943" y="35826"/>
        <a:ext cx="575030" cy="575030"/>
      </dsp:txXfrm>
    </dsp:sp>
    <dsp:sp modelId="{30C84352-3DB4-B243-9775-F7BAF98E0DA8}">
      <dsp:nvSpPr>
        <dsp:cNvPr id="0" name=""/>
        <dsp:cNvSpPr/>
      </dsp:nvSpPr>
      <dsp:spPr>
        <a:xfrm>
          <a:off x="235730" y="-386"/>
          <a:ext cx="1624025" cy="1624025"/>
        </a:xfrm>
        <a:prstGeom prst="circularArrow">
          <a:avLst>
            <a:gd name="adj1" fmla="val 6905"/>
            <a:gd name="adj2" fmla="val 465547"/>
            <a:gd name="adj3" fmla="val 16748597"/>
            <a:gd name="adj4" fmla="val 15185857"/>
            <a:gd name="adj5" fmla="val 8055"/>
          </a:avLst>
        </a:prstGeom>
        <a:solidFill>
          <a:schemeClr val="bg2">
            <a:lumMod val="50000"/>
          </a:schemeClr>
        </a:solidFill>
        <a:ln>
          <a:noFill/>
        </a:ln>
        <a:effectLst/>
      </dsp:spPr>
      <dsp:style>
        <a:lnRef idx="0">
          <a:scrgbClr r="0" g="0" b="0"/>
        </a:lnRef>
        <a:fillRef idx="3">
          <a:scrgbClr r="0" g="0" b="0"/>
        </a:fillRef>
        <a:effectRef idx="2">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B4E8802-BF8B-A848-A20A-B295040CFECA}">
      <dsp:nvSpPr>
        <dsp:cNvPr id="0" name=""/>
        <dsp:cNvSpPr/>
      </dsp:nvSpPr>
      <dsp:spPr>
        <a:xfrm>
          <a:off x="301012" y="112345"/>
          <a:ext cx="170842" cy="1708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t>D</a:t>
          </a:r>
        </a:p>
      </dsp:txBody>
      <dsp:txXfrm>
        <a:off x="301012" y="112345"/>
        <a:ext cx="170842" cy="170842"/>
      </dsp:txXfrm>
    </dsp:sp>
    <dsp:sp modelId="{B3CA27BA-A25B-9340-B4F8-A7174A728D9A}">
      <dsp:nvSpPr>
        <dsp:cNvPr id="0" name=""/>
        <dsp:cNvSpPr/>
      </dsp:nvSpPr>
      <dsp:spPr>
        <a:xfrm>
          <a:off x="-39" y="101560"/>
          <a:ext cx="482679" cy="482679"/>
        </a:xfrm>
        <a:prstGeom prst="circularArrow">
          <a:avLst>
            <a:gd name="adj1" fmla="val 6902"/>
            <a:gd name="adj2" fmla="val 465342"/>
            <a:gd name="adj3" fmla="val 549458"/>
            <a:gd name="adj4" fmla="val 20585200"/>
            <a:gd name="adj5" fmla="val 8052"/>
          </a:avLst>
        </a:prstGeom>
        <a:solidFill>
          <a:schemeClr val="accent1"/>
        </a:solidFill>
        <a:ln>
          <a:noFill/>
        </a:ln>
        <a:effectLst/>
      </dsp:spPr>
      <dsp:style>
        <a:lnRef idx="0">
          <a:scrgbClr r="0" g="0" b="0"/>
        </a:lnRef>
        <a:fillRef idx="3">
          <a:scrgbClr r="0" g="0" b="0"/>
        </a:fillRef>
        <a:effectRef idx="2">
          <a:scrgbClr r="0" g="0" b="0"/>
        </a:effectRef>
        <a:fontRef idx="minor">
          <a:schemeClr val="lt1"/>
        </a:fontRef>
      </dsp:style>
    </dsp:sp>
    <dsp:sp modelId="{7E9B646F-A801-F04D-9EDB-553A5A3BFCA6}">
      <dsp:nvSpPr>
        <dsp:cNvPr id="0" name=""/>
        <dsp:cNvSpPr/>
      </dsp:nvSpPr>
      <dsp:spPr>
        <a:xfrm>
          <a:off x="301012" y="402612"/>
          <a:ext cx="170842" cy="1708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t>C</a:t>
          </a:r>
        </a:p>
      </dsp:txBody>
      <dsp:txXfrm>
        <a:off x="301012" y="402612"/>
        <a:ext cx="170842" cy="170842"/>
      </dsp:txXfrm>
    </dsp:sp>
    <dsp:sp modelId="{249051EC-F66A-584A-A150-95ED33348B57}">
      <dsp:nvSpPr>
        <dsp:cNvPr id="0" name=""/>
        <dsp:cNvSpPr/>
      </dsp:nvSpPr>
      <dsp:spPr>
        <a:xfrm>
          <a:off x="-39" y="101560"/>
          <a:ext cx="482679" cy="482679"/>
        </a:xfrm>
        <a:prstGeom prst="circularArrow">
          <a:avLst>
            <a:gd name="adj1" fmla="val 6902"/>
            <a:gd name="adj2" fmla="val 465342"/>
            <a:gd name="adj3" fmla="val 5949458"/>
            <a:gd name="adj4" fmla="val 4385200"/>
            <a:gd name="adj5" fmla="val 8052"/>
          </a:avLst>
        </a:prstGeom>
        <a:solidFill>
          <a:schemeClr val="accent1"/>
        </a:solidFill>
        <a:ln>
          <a:noFill/>
        </a:ln>
        <a:effectLst/>
      </dsp:spPr>
      <dsp:style>
        <a:lnRef idx="0">
          <a:scrgbClr r="0" g="0" b="0"/>
        </a:lnRef>
        <a:fillRef idx="3">
          <a:scrgbClr r="0" g="0" b="0"/>
        </a:fillRef>
        <a:effectRef idx="2">
          <a:scrgbClr r="0" g="0" b="0"/>
        </a:effectRef>
        <a:fontRef idx="minor">
          <a:schemeClr val="lt1"/>
        </a:fontRef>
      </dsp:style>
    </dsp:sp>
    <dsp:sp modelId="{03627AB9-E216-8A4B-A7F7-D323A1EC49D9}">
      <dsp:nvSpPr>
        <dsp:cNvPr id="0" name=""/>
        <dsp:cNvSpPr/>
      </dsp:nvSpPr>
      <dsp:spPr>
        <a:xfrm>
          <a:off x="10745" y="402612"/>
          <a:ext cx="170842" cy="1708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t>A</a:t>
          </a:r>
        </a:p>
      </dsp:txBody>
      <dsp:txXfrm>
        <a:off x="10745" y="402612"/>
        <a:ext cx="170842" cy="170842"/>
      </dsp:txXfrm>
    </dsp:sp>
    <dsp:sp modelId="{E4A922D6-F7F7-4049-B5C5-E7FA4E6CFF15}">
      <dsp:nvSpPr>
        <dsp:cNvPr id="0" name=""/>
        <dsp:cNvSpPr/>
      </dsp:nvSpPr>
      <dsp:spPr>
        <a:xfrm>
          <a:off x="-39" y="101560"/>
          <a:ext cx="482679" cy="482679"/>
        </a:xfrm>
        <a:prstGeom prst="circularArrow">
          <a:avLst>
            <a:gd name="adj1" fmla="val 6902"/>
            <a:gd name="adj2" fmla="val 465342"/>
            <a:gd name="adj3" fmla="val 11349458"/>
            <a:gd name="adj4" fmla="val 9785200"/>
            <a:gd name="adj5" fmla="val 8052"/>
          </a:avLst>
        </a:prstGeom>
        <a:solidFill>
          <a:schemeClr val="accent1"/>
        </a:solidFill>
        <a:ln>
          <a:noFill/>
        </a:ln>
        <a:effectLst/>
      </dsp:spPr>
      <dsp:style>
        <a:lnRef idx="0">
          <a:scrgbClr r="0" g="0" b="0"/>
        </a:lnRef>
        <a:fillRef idx="3">
          <a:scrgbClr r="0" g="0" b="0"/>
        </a:fillRef>
        <a:effectRef idx="2">
          <a:scrgbClr r="0" g="0" b="0"/>
        </a:effectRef>
        <a:fontRef idx="minor">
          <a:schemeClr val="lt1"/>
        </a:fontRef>
      </dsp:style>
    </dsp:sp>
    <dsp:sp modelId="{825CBC42-BFBF-574B-8254-A9554F009746}">
      <dsp:nvSpPr>
        <dsp:cNvPr id="0" name=""/>
        <dsp:cNvSpPr/>
      </dsp:nvSpPr>
      <dsp:spPr>
        <a:xfrm>
          <a:off x="10745" y="112345"/>
          <a:ext cx="170842" cy="1708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t>P</a:t>
          </a:r>
        </a:p>
      </dsp:txBody>
      <dsp:txXfrm>
        <a:off x="10745" y="112345"/>
        <a:ext cx="170842" cy="170842"/>
      </dsp:txXfrm>
    </dsp:sp>
    <dsp:sp modelId="{A2B32F0D-B48E-4041-ADAB-2883F1B22FDB}">
      <dsp:nvSpPr>
        <dsp:cNvPr id="0" name=""/>
        <dsp:cNvSpPr/>
      </dsp:nvSpPr>
      <dsp:spPr>
        <a:xfrm>
          <a:off x="-39" y="101560"/>
          <a:ext cx="482679" cy="482679"/>
        </a:xfrm>
        <a:prstGeom prst="circularArrow">
          <a:avLst>
            <a:gd name="adj1" fmla="val 6902"/>
            <a:gd name="adj2" fmla="val 465342"/>
            <a:gd name="adj3" fmla="val 16749458"/>
            <a:gd name="adj4" fmla="val 15185200"/>
            <a:gd name="adj5" fmla="val 8052"/>
          </a:avLst>
        </a:prstGeom>
        <a:solidFill>
          <a:schemeClr val="accent1"/>
        </a:solidFill>
        <a:ln>
          <a:noFill/>
        </a:ln>
        <a:effectLst/>
      </dsp:spPr>
      <dsp:style>
        <a:lnRef idx="0">
          <a:scrgbClr r="0" g="0" b="0"/>
        </a:lnRef>
        <a:fillRef idx="3">
          <a:scrgbClr r="0" g="0" b="0"/>
        </a:fillRef>
        <a:effectRef idx="2">
          <a:scrgbClr r="0" g="0" b="0"/>
        </a:effectRef>
        <a:fontRef idx="minor">
          <a:schemeClr val="lt1"/>
        </a:fontRef>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B4E8802-BF8B-A848-A20A-B295040CFECA}">
      <dsp:nvSpPr>
        <dsp:cNvPr id="0" name=""/>
        <dsp:cNvSpPr/>
      </dsp:nvSpPr>
      <dsp:spPr>
        <a:xfrm>
          <a:off x="129762" y="66416"/>
          <a:ext cx="73648" cy="736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en-US" sz="500" kern="1200" dirty="0"/>
            <a:t>D</a:t>
          </a:r>
        </a:p>
      </dsp:txBody>
      <dsp:txXfrm>
        <a:off x="129762" y="66416"/>
        <a:ext cx="73648" cy="73648"/>
      </dsp:txXfrm>
    </dsp:sp>
    <dsp:sp modelId="{B3CA27BA-A25B-9340-B4F8-A7174A728D9A}">
      <dsp:nvSpPr>
        <dsp:cNvPr id="0" name=""/>
        <dsp:cNvSpPr/>
      </dsp:nvSpPr>
      <dsp:spPr>
        <a:xfrm>
          <a:off x="-17" y="61766"/>
          <a:ext cx="208077" cy="208077"/>
        </a:xfrm>
        <a:prstGeom prst="circularArrow">
          <a:avLst>
            <a:gd name="adj1" fmla="val 6902"/>
            <a:gd name="adj2" fmla="val 465342"/>
            <a:gd name="adj3" fmla="val 549458"/>
            <a:gd name="adj4" fmla="val 20585200"/>
            <a:gd name="adj5" fmla="val 8052"/>
          </a:avLst>
        </a:prstGeom>
        <a:solidFill>
          <a:schemeClr val="accent1"/>
        </a:solidFill>
        <a:ln>
          <a:noFill/>
        </a:ln>
        <a:effectLst/>
      </dsp:spPr>
      <dsp:style>
        <a:lnRef idx="0">
          <a:scrgbClr r="0" g="0" b="0"/>
        </a:lnRef>
        <a:fillRef idx="3">
          <a:scrgbClr r="0" g="0" b="0"/>
        </a:fillRef>
        <a:effectRef idx="2">
          <a:scrgbClr r="0" g="0" b="0"/>
        </a:effectRef>
        <a:fontRef idx="minor">
          <a:schemeClr val="lt1"/>
        </a:fontRef>
      </dsp:style>
    </dsp:sp>
    <dsp:sp modelId="{7E9B646F-A801-F04D-9EDB-553A5A3BFCA6}">
      <dsp:nvSpPr>
        <dsp:cNvPr id="0" name=""/>
        <dsp:cNvSpPr/>
      </dsp:nvSpPr>
      <dsp:spPr>
        <a:xfrm>
          <a:off x="129762" y="191546"/>
          <a:ext cx="73648" cy="736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en-US" sz="500" kern="1200" dirty="0"/>
            <a:t>C</a:t>
          </a:r>
        </a:p>
      </dsp:txBody>
      <dsp:txXfrm>
        <a:off x="129762" y="191546"/>
        <a:ext cx="73648" cy="73648"/>
      </dsp:txXfrm>
    </dsp:sp>
    <dsp:sp modelId="{249051EC-F66A-584A-A150-95ED33348B57}">
      <dsp:nvSpPr>
        <dsp:cNvPr id="0" name=""/>
        <dsp:cNvSpPr/>
      </dsp:nvSpPr>
      <dsp:spPr>
        <a:xfrm>
          <a:off x="10775" y="61766"/>
          <a:ext cx="208077" cy="208077"/>
        </a:xfrm>
        <a:prstGeom prst="circularArrow">
          <a:avLst>
            <a:gd name="adj1" fmla="val 6902"/>
            <a:gd name="adj2" fmla="val 465342"/>
            <a:gd name="adj3" fmla="val 5949458"/>
            <a:gd name="adj4" fmla="val 4385200"/>
            <a:gd name="adj5" fmla="val 8052"/>
          </a:avLst>
        </a:prstGeom>
        <a:solidFill>
          <a:schemeClr val="accent1"/>
        </a:solidFill>
        <a:ln>
          <a:noFill/>
        </a:ln>
        <a:effectLst/>
      </dsp:spPr>
      <dsp:style>
        <a:lnRef idx="0">
          <a:scrgbClr r="0" g="0" b="0"/>
        </a:lnRef>
        <a:fillRef idx="3">
          <a:scrgbClr r="0" g="0" b="0"/>
        </a:fillRef>
        <a:effectRef idx="2">
          <a:scrgbClr r="0" g="0" b="0"/>
        </a:effectRef>
        <a:fontRef idx="minor">
          <a:schemeClr val="lt1"/>
        </a:fontRef>
      </dsp:style>
    </dsp:sp>
    <dsp:sp modelId="{03627AB9-E216-8A4B-A7F7-D323A1EC49D9}">
      <dsp:nvSpPr>
        <dsp:cNvPr id="0" name=""/>
        <dsp:cNvSpPr/>
      </dsp:nvSpPr>
      <dsp:spPr>
        <a:xfrm>
          <a:off x="4632" y="191546"/>
          <a:ext cx="73648" cy="736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en-US" sz="500" kern="1200" dirty="0"/>
            <a:t>A</a:t>
          </a:r>
        </a:p>
      </dsp:txBody>
      <dsp:txXfrm>
        <a:off x="4632" y="191546"/>
        <a:ext cx="73648" cy="73648"/>
      </dsp:txXfrm>
    </dsp:sp>
    <dsp:sp modelId="{E4A922D6-F7F7-4049-B5C5-E7FA4E6CFF15}">
      <dsp:nvSpPr>
        <dsp:cNvPr id="0" name=""/>
        <dsp:cNvSpPr/>
      </dsp:nvSpPr>
      <dsp:spPr>
        <a:xfrm>
          <a:off x="-17" y="61766"/>
          <a:ext cx="208077" cy="208077"/>
        </a:xfrm>
        <a:prstGeom prst="circularArrow">
          <a:avLst>
            <a:gd name="adj1" fmla="val 6902"/>
            <a:gd name="adj2" fmla="val 465342"/>
            <a:gd name="adj3" fmla="val 11349458"/>
            <a:gd name="adj4" fmla="val 9785200"/>
            <a:gd name="adj5" fmla="val 8052"/>
          </a:avLst>
        </a:prstGeom>
        <a:solidFill>
          <a:schemeClr val="accent1"/>
        </a:solidFill>
        <a:ln>
          <a:noFill/>
        </a:ln>
        <a:effectLst/>
      </dsp:spPr>
      <dsp:style>
        <a:lnRef idx="0">
          <a:scrgbClr r="0" g="0" b="0"/>
        </a:lnRef>
        <a:fillRef idx="3">
          <a:scrgbClr r="0" g="0" b="0"/>
        </a:fillRef>
        <a:effectRef idx="2">
          <a:scrgbClr r="0" g="0" b="0"/>
        </a:effectRef>
        <a:fontRef idx="minor">
          <a:schemeClr val="lt1"/>
        </a:fontRef>
      </dsp:style>
    </dsp:sp>
    <dsp:sp modelId="{825CBC42-BFBF-574B-8254-A9554F009746}">
      <dsp:nvSpPr>
        <dsp:cNvPr id="0" name=""/>
        <dsp:cNvSpPr/>
      </dsp:nvSpPr>
      <dsp:spPr>
        <a:xfrm>
          <a:off x="4632" y="66416"/>
          <a:ext cx="73648" cy="736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en-US" sz="500" kern="1200" dirty="0"/>
            <a:t>P</a:t>
          </a:r>
        </a:p>
      </dsp:txBody>
      <dsp:txXfrm>
        <a:off x="4632" y="66416"/>
        <a:ext cx="73648" cy="73648"/>
      </dsp:txXfrm>
    </dsp:sp>
    <dsp:sp modelId="{A2B32F0D-B48E-4041-ADAB-2883F1B22FDB}">
      <dsp:nvSpPr>
        <dsp:cNvPr id="0" name=""/>
        <dsp:cNvSpPr/>
      </dsp:nvSpPr>
      <dsp:spPr>
        <a:xfrm>
          <a:off x="-17" y="61766"/>
          <a:ext cx="208077" cy="208077"/>
        </a:xfrm>
        <a:prstGeom prst="circularArrow">
          <a:avLst>
            <a:gd name="adj1" fmla="val 6902"/>
            <a:gd name="adj2" fmla="val 465342"/>
            <a:gd name="adj3" fmla="val 16749458"/>
            <a:gd name="adj4" fmla="val 15185200"/>
            <a:gd name="adj5" fmla="val 8052"/>
          </a:avLst>
        </a:prstGeom>
        <a:solidFill>
          <a:schemeClr val="accent1"/>
        </a:solidFill>
        <a:ln>
          <a:noFill/>
        </a:ln>
        <a:effectLst/>
      </dsp:spPr>
      <dsp:style>
        <a:lnRef idx="0">
          <a:scrgbClr r="0" g="0" b="0"/>
        </a:lnRef>
        <a:fillRef idx="3">
          <a:scrgbClr r="0" g="0" b="0"/>
        </a:fillRef>
        <a:effectRef idx="2">
          <a:scrgbClr r="0" g="0" b="0"/>
        </a:effectRef>
        <a:fontRef idx="minor">
          <a:schemeClr val="lt1"/>
        </a:fontRef>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B4E8802-BF8B-A848-A20A-B295040CFECA}">
      <dsp:nvSpPr>
        <dsp:cNvPr id="0" name=""/>
        <dsp:cNvSpPr/>
      </dsp:nvSpPr>
      <dsp:spPr>
        <a:xfrm>
          <a:off x="129762" y="66416"/>
          <a:ext cx="73648" cy="736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en-US" sz="500" kern="1200" dirty="0"/>
            <a:t>D</a:t>
          </a:r>
        </a:p>
      </dsp:txBody>
      <dsp:txXfrm>
        <a:off x="129762" y="66416"/>
        <a:ext cx="73648" cy="73648"/>
      </dsp:txXfrm>
    </dsp:sp>
    <dsp:sp modelId="{B3CA27BA-A25B-9340-B4F8-A7174A728D9A}">
      <dsp:nvSpPr>
        <dsp:cNvPr id="0" name=""/>
        <dsp:cNvSpPr/>
      </dsp:nvSpPr>
      <dsp:spPr>
        <a:xfrm>
          <a:off x="-17" y="61766"/>
          <a:ext cx="208077" cy="208077"/>
        </a:xfrm>
        <a:prstGeom prst="circularArrow">
          <a:avLst>
            <a:gd name="adj1" fmla="val 6902"/>
            <a:gd name="adj2" fmla="val 465342"/>
            <a:gd name="adj3" fmla="val 549458"/>
            <a:gd name="adj4" fmla="val 20585200"/>
            <a:gd name="adj5" fmla="val 8052"/>
          </a:avLst>
        </a:prstGeom>
        <a:solidFill>
          <a:schemeClr val="accent1"/>
        </a:solidFill>
        <a:ln>
          <a:noFill/>
        </a:ln>
        <a:effectLst/>
      </dsp:spPr>
      <dsp:style>
        <a:lnRef idx="0">
          <a:scrgbClr r="0" g="0" b="0"/>
        </a:lnRef>
        <a:fillRef idx="3">
          <a:scrgbClr r="0" g="0" b="0"/>
        </a:fillRef>
        <a:effectRef idx="2">
          <a:scrgbClr r="0" g="0" b="0"/>
        </a:effectRef>
        <a:fontRef idx="minor">
          <a:schemeClr val="lt1"/>
        </a:fontRef>
      </dsp:style>
    </dsp:sp>
    <dsp:sp modelId="{7E9B646F-A801-F04D-9EDB-553A5A3BFCA6}">
      <dsp:nvSpPr>
        <dsp:cNvPr id="0" name=""/>
        <dsp:cNvSpPr/>
      </dsp:nvSpPr>
      <dsp:spPr>
        <a:xfrm>
          <a:off x="129762" y="191546"/>
          <a:ext cx="73648" cy="736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en-US" sz="500" kern="1200" dirty="0"/>
            <a:t>C</a:t>
          </a:r>
        </a:p>
      </dsp:txBody>
      <dsp:txXfrm>
        <a:off x="129762" y="191546"/>
        <a:ext cx="73648" cy="73648"/>
      </dsp:txXfrm>
    </dsp:sp>
    <dsp:sp modelId="{249051EC-F66A-584A-A150-95ED33348B57}">
      <dsp:nvSpPr>
        <dsp:cNvPr id="0" name=""/>
        <dsp:cNvSpPr/>
      </dsp:nvSpPr>
      <dsp:spPr>
        <a:xfrm>
          <a:off x="10775" y="61766"/>
          <a:ext cx="208077" cy="208077"/>
        </a:xfrm>
        <a:prstGeom prst="circularArrow">
          <a:avLst>
            <a:gd name="adj1" fmla="val 6902"/>
            <a:gd name="adj2" fmla="val 465342"/>
            <a:gd name="adj3" fmla="val 5949458"/>
            <a:gd name="adj4" fmla="val 4385200"/>
            <a:gd name="adj5" fmla="val 8052"/>
          </a:avLst>
        </a:prstGeom>
        <a:solidFill>
          <a:schemeClr val="accent1"/>
        </a:solidFill>
        <a:ln>
          <a:noFill/>
        </a:ln>
        <a:effectLst/>
      </dsp:spPr>
      <dsp:style>
        <a:lnRef idx="0">
          <a:scrgbClr r="0" g="0" b="0"/>
        </a:lnRef>
        <a:fillRef idx="3">
          <a:scrgbClr r="0" g="0" b="0"/>
        </a:fillRef>
        <a:effectRef idx="2">
          <a:scrgbClr r="0" g="0" b="0"/>
        </a:effectRef>
        <a:fontRef idx="minor">
          <a:schemeClr val="lt1"/>
        </a:fontRef>
      </dsp:style>
    </dsp:sp>
    <dsp:sp modelId="{03627AB9-E216-8A4B-A7F7-D323A1EC49D9}">
      <dsp:nvSpPr>
        <dsp:cNvPr id="0" name=""/>
        <dsp:cNvSpPr/>
      </dsp:nvSpPr>
      <dsp:spPr>
        <a:xfrm>
          <a:off x="4632" y="191546"/>
          <a:ext cx="73648" cy="736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en-US" sz="500" kern="1200" dirty="0"/>
            <a:t>A</a:t>
          </a:r>
        </a:p>
      </dsp:txBody>
      <dsp:txXfrm>
        <a:off x="4632" y="191546"/>
        <a:ext cx="73648" cy="73648"/>
      </dsp:txXfrm>
    </dsp:sp>
    <dsp:sp modelId="{E4A922D6-F7F7-4049-B5C5-E7FA4E6CFF15}">
      <dsp:nvSpPr>
        <dsp:cNvPr id="0" name=""/>
        <dsp:cNvSpPr/>
      </dsp:nvSpPr>
      <dsp:spPr>
        <a:xfrm>
          <a:off x="-17" y="61766"/>
          <a:ext cx="208077" cy="208077"/>
        </a:xfrm>
        <a:prstGeom prst="circularArrow">
          <a:avLst>
            <a:gd name="adj1" fmla="val 6902"/>
            <a:gd name="adj2" fmla="val 465342"/>
            <a:gd name="adj3" fmla="val 11349458"/>
            <a:gd name="adj4" fmla="val 9785200"/>
            <a:gd name="adj5" fmla="val 8052"/>
          </a:avLst>
        </a:prstGeom>
        <a:solidFill>
          <a:schemeClr val="accent1"/>
        </a:solidFill>
        <a:ln>
          <a:noFill/>
        </a:ln>
        <a:effectLst/>
      </dsp:spPr>
      <dsp:style>
        <a:lnRef idx="0">
          <a:scrgbClr r="0" g="0" b="0"/>
        </a:lnRef>
        <a:fillRef idx="3">
          <a:scrgbClr r="0" g="0" b="0"/>
        </a:fillRef>
        <a:effectRef idx="2">
          <a:scrgbClr r="0" g="0" b="0"/>
        </a:effectRef>
        <a:fontRef idx="minor">
          <a:schemeClr val="lt1"/>
        </a:fontRef>
      </dsp:style>
    </dsp:sp>
    <dsp:sp modelId="{825CBC42-BFBF-574B-8254-A9554F009746}">
      <dsp:nvSpPr>
        <dsp:cNvPr id="0" name=""/>
        <dsp:cNvSpPr/>
      </dsp:nvSpPr>
      <dsp:spPr>
        <a:xfrm>
          <a:off x="4632" y="66416"/>
          <a:ext cx="73648" cy="736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en-US" sz="500" kern="1200" dirty="0"/>
            <a:t>P</a:t>
          </a:r>
        </a:p>
      </dsp:txBody>
      <dsp:txXfrm>
        <a:off x="4632" y="66416"/>
        <a:ext cx="73648" cy="73648"/>
      </dsp:txXfrm>
    </dsp:sp>
    <dsp:sp modelId="{A2B32F0D-B48E-4041-ADAB-2883F1B22FDB}">
      <dsp:nvSpPr>
        <dsp:cNvPr id="0" name=""/>
        <dsp:cNvSpPr/>
      </dsp:nvSpPr>
      <dsp:spPr>
        <a:xfrm>
          <a:off x="-17" y="61766"/>
          <a:ext cx="208077" cy="208077"/>
        </a:xfrm>
        <a:prstGeom prst="circularArrow">
          <a:avLst>
            <a:gd name="adj1" fmla="val 6902"/>
            <a:gd name="adj2" fmla="val 465342"/>
            <a:gd name="adj3" fmla="val 16749458"/>
            <a:gd name="adj4" fmla="val 15185200"/>
            <a:gd name="adj5" fmla="val 8052"/>
          </a:avLst>
        </a:prstGeom>
        <a:solidFill>
          <a:schemeClr val="accent1"/>
        </a:solidFill>
        <a:ln>
          <a:noFill/>
        </a:ln>
        <a:effectLst/>
      </dsp:spPr>
      <dsp:style>
        <a:lnRef idx="0">
          <a:scrgbClr r="0" g="0" b="0"/>
        </a:lnRef>
        <a:fillRef idx="3">
          <a:scrgbClr r="0" g="0" b="0"/>
        </a:fillRef>
        <a:effectRef idx="2">
          <a:scrgbClr r="0" g="0" b="0"/>
        </a:effectRef>
        <a:fontRef idx="minor">
          <a:schemeClr val="lt1"/>
        </a:fontRef>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B4E8802-BF8B-A848-A20A-B295040CFECA}">
      <dsp:nvSpPr>
        <dsp:cNvPr id="0" name=""/>
        <dsp:cNvSpPr/>
      </dsp:nvSpPr>
      <dsp:spPr>
        <a:xfrm>
          <a:off x="129762" y="66416"/>
          <a:ext cx="73648" cy="736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en-US" sz="500" kern="1200" dirty="0"/>
            <a:t>D</a:t>
          </a:r>
        </a:p>
      </dsp:txBody>
      <dsp:txXfrm>
        <a:off x="129762" y="66416"/>
        <a:ext cx="73648" cy="73648"/>
      </dsp:txXfrm>
    </dsp:sp>
    <dsp:sp modelId="{B3CA27BA-A25B-9340-B4F8-A7174A728D9A}">
      <dsp:nvSpPr>
        <dsp:cNvPr id="0" name=""/>
        <dsp:cNvSpPr/>
      </dsp:nvSpPr>
      <dsp:spPr>
        <a:xfrm>
          <a:off x="-17" y="61766"/>
          <a:ext cx="208077" cy="208077"/>
        </a:xfrm>
        <a:prstGeom prst="circularArrow">
          <a:avLst>
            <a:gd name="adj1" fmla="val 6902"/>
            <a:gd name="adj2" fmla="val 465342"/>
            <a:gd name="adj3" fmla="val 549458"/>
            <a:gd name="adj4" fmla="val 20585200"/>
            <a:gd name="adj5" fmla="val 8052"/>
          </a:avLst>
        </a:prstGeom>
        <a:solidFill>
          <a:schemeClr val="accent1"/>
        </a:solidFill>
        <a:ln>
          <a:noFill/>
        </a:ln>
        <a:effectLst/>
      </dsp:spPr>
      <dsp:style>
        <a:lnRef idx="0">
          <a:scrgbClr r="0" g="0" b="0"/>
        </a:lnRef>
        <a:fillRef idx="3">
          <a:scrgbClr r="0" g="0" b="0"/>
        </a:fillRef>
        <a:effectRef idx="2">
          <a:scrgbClr r="0" g="0" b="0"/>
        </a:effectRef>
        <a:fontRef idx="minor">
          <a:schemeClr val="lt1"/>
        </a:fontRef>
      </dsp:style>
    </dsp:sp>
    <dsp:sp modelId="{7E9B646F-A801-F04D-9EDB-553A5A3BFCA6}">
      <dsp:nvSpPr>
        <dsp:cNvPr id="0" name=""/>
        <dsp:cNvSpPr/>
      </dsp:nvSpPr>
      <dsp:spPr>
        <a:xfrm>
          <a:off x="129762" y="191546"/>
          <a:ext cx="73648" cy="736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en-US" sz="500" kern="1200" dirty="0"/>
            <a:t>C</a:t>
          </a:r>
        </a:p>
      </dsp:txBody>
      <dsp:txXfrm>
        <a:off x="129762" y="191546"/>
        <a:ext cx="73648" cy="73648"/>
      </dsp:txXfrm>
    </dsp:sp>
    <dsp:sp modelId="{249051EC-F66A-584A-A150-95ED33348B57}">
      <dsp:nvSpPr>
        <dsp:cNvPr id="0" name=""/>
        <dsp:cNvSpPr/>
      </dsp:nvSpPr>
      <dsp:spPr>
        <a:xfrm>
          <a:off x="10775" y="61766"/>
          <a:ext cx="208077" cy="208077"/>
        </a:xfrm>
        <a:prstGeom prst="circularArrow">
          <a:avLst>
            <a:gd name="adj1" fmla="val 6902"/>
            <a:gd name="adj2" fmla="val 465342"/>
            <a:gd name="adj3" fmla="val 5949458"/>
            <a:gd name="adj4" fmla="val 4385200"/>
            <a:gd name="adj5" fmla="val 8052"/>
          </a:avLst>
        </a:prstGeom>
        <a:solidFill>
          <a:schemeClr val="accent1"/>
        </a:solidFill>
        <a:ln>
          <a:noFill/>
        </a:ln>
        <a:effectLst/>
      </dsp:spPr>
      <dsp:style>
        <a:lnRef idx="0">
          <a:scrgbClr r="0" g="0" b="0"/>
        </a:lnRef>
        <a:fillRef idx="3">
          <a:scrgbClr r="0" g="0" b="0"/>
        </a:fillRef>
        <a:effectRef idx="2">
          <a:scrgbClr r="0" g="0" b="0"/>
        </a:effectRef>
        <a:fontRef idx="minor">
          <a:schemeClr val="lt1"/>
        </a:fontRef>
      </dsp:style>
    </dsp:sp>
    <dsp:sp modelId="{03627AB9-E216-8A4B-A7F7-D323A1EC49D9}">
      <dsp:nvSpPr>
        <dsp:cNvPr id="0" name=""/>
        <dsp:cNvSpPr/>
      </dsp:nvSpPr>
      <dsp:spPr>
        <a:xfrm>
          <a:off x="4632" y="191546"/>
          <a:ext cx="73648" cy="736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en-US" sz="500" kern="1200" dirty="0"/>
            <a:t>A</a:t>
          </a:r>
        </a:p>
      </dsp:txBody>
      <dsp:txXfrm>
        <a:off x="4632" y="191546"/>
        <a:ext cx="73648" cy="73648"/>
      </dsp:txXfrm>
    </dsp:sp>
    <dsp:sp modelId="{E4A922D6-F7F7-4049-B5C5-E7FA4E6CFF15}">
      <dsp:nvSpPr>
        <dsp:cNvPr id="0" name=""/>
        <dsp:cNvSpPr/>
      </dsp:nvSpPr>
      <dsp:spPr>
        <a:xfrm>
          <a:off x="-17" y="61766"/>
          <a:ext cx="208077" cy="208077"/>
        </a:xfrm>
        <a:prstGeom prst="circularArrow">
          <a:avLst>
            <a:gd name="adj1" fmla="val 6902"/>
            <a:gd name="adj2" fmla="val 465342"/>
            <a:gd name="adj3" fmla="val 11349458"/>
            <a:gd name="adj4" fmla="val 9785200"/>
            <a:gd name="adj5" fmla="val 8052"/>
          </a:avLst>
        </a:prstGeom>
        <a:solidFill>
          <a:schemeClr val="accent1"/>
        </a:solidFill>
        <a:ln>
          <a:noFill/>
        </a:ln>
        <a:effectLst/>
      </dsp:spPr>
      <dsp:style>
        <a:lnRef idx="0">
          <a:scrgbClr r="0" g="0" b="0"/>
        </a:lnRef>
        <a:fillRef idx="3">
          <a:scrgbClr r="0" g="0" b="0"/>
        </a:fillRef>
        <a:effectRef idx="2">
          <a:scrgbClr r="0" g="0" b="0"/>
        </a:effectRef>
        <a:fontRef idx="minor">
          <a:schemeClr val="lt1"/>
        </a:fontRef>
      </dsp:style>
    </dsp:sp>
    <dsp:sp modelId="{825CBC42-BFBF-574B-8254-A9554F009746}">
      <dsp:nvSpPr>
        <dsp:cNvPr id="0" name=""/>
        <dsp:cNvSpPr/>
      </dsp:nvSpPr>
      <dsp:spPr>
        <a:xfrm>
          <a:off x="4632" y="66416"/>
          <a:ext cx="73648" cy="736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en-US" sz="500" kern="1200" dirty="0"/>
            <a:t>P</a:t>
          </a:r>
        </a:p>
      </dsp:txBody>
      <dsp:txXfrm>
        <a:off x="4632" y="66416"/>
        <a:ext cx="73648" cy="73648"/>
      </dsp:txXfrm>
    </dsp:sp>
    <dsp:sp modelId="{A2B32F0D-B48E-4041-ADAB-2883F1B22FDB}">
      <dsp:nvSpPr>
        <dsp:cNvPr id="0" name=""/>
        <dsp:cNvSpPr/>
      </dsp:nvSpPr>
      <dsp:spPr>
        <a:xfrm>
          <a:off x="-17" y="61766"/>
          <a:ext cx="208077" cy="208077"/>
        </a:xfrm>
        <a:prstGeom prst="circularArrow">
          <a:avLst>
            <a:gd name="adj1" fmla="val 6902"/>
            <a:gd name="adj2" fmla="val 465342"/>
            <a:gd name="adj3" fmla="val 16749458"/>
            <a:gd name="adj4" fmla="val 15185200"/>
            <a:gd name="adj5" fmla="val 8052"/>
          </a:avLst>
        </a:prstGeom>
        <a:solidFill>
          <a:schemeClr val="accent1"/>
        </a:solidFill>
        <a:ln>
          <a:noFill/>
        </a:ln>
        <a:effectLst/>
      </dsp:spPr>
      <dsp:style>
        <a:lnRef idx="0">
          <a:scrgbClr r="0" g="0" b="0"/>
        </a:lnRef>
        <a:fillRef idx="3">
          <a:scrgbClr r="0" g="0" b="0"/>
        </a:fillRef>
        <a:effectRef idx="2">
          <a:scrgbClr r="0" g="0" b="0"/>
        </a:effectRef>
        <a:fontRef idx="minor">
          <a:schemeClr val="lt1"/>
        </a:fontRef>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B4E8802-BF8B-A848-A20A-B295040CFECA}">
      <dsp:nvSpPr>
        <dsp:cNvPr id="0" name=""/>
        <dsp:cNvSpPr/>
      </dsp:nvSpPr>
      <dsp:spPr>
        <a:xfrm>
          <a:off x="129762" y="66416"/>
          <a:ext cx="73648" cy="736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en-US" sz="500" kern="1200" dirty="0"/>
            <a:t>D</a:t>
          </a:r>
        </a:p>
      </dsp:txBody>
      <dsp:txXfrm>
        <a:off x="129762" y="66416"/>
        <a:ext cx="73648" cy="73648"/>
      </dsp:txXfrm>
    </dsp:sp>
    <dsp:sp modelId="{B3CA27BA-A25B-9340-B4F8-A7174A728D9A}">
      <dsp:nvSpPr>
        <dsp:cNvPr id="0" name=""/>
        <dsp:cNvSpPr/>
      </dsp:nvSpPr>
      <dsp:spPr>
        <a:xfrm>
          <a:off x="-17" y="61766"/>
          <a:ext cx="208077" cy="208077"/>
        </a:xfrm>
        <a:prstGeom prst="circularArrow">
          <a:avLst>
            <a:gd name="adj1" fmla="val 6902"/>
            <a:gd name="adj2" fmla="val 465342"/>
            <a:gd name="adj3" fmla="val 549458"/>
            <a:gd name="adj4" fmla="val 20585200"/>
            <a:gd name="adj5" fmla="val 8052"/>
          </a:avLst>
        </a:prstGeom>
        <a:solidFill>
          <a:schemeClr val="accent1"/>
        </a:solidFill>
        <a:ln>
          <a:noFill/>
        </a:ln>
        <a:effectLst/>
      </dsp:spPr>
      <dsp:style>
        <a:lnRef idx="0">
          <a:scrgbClr r="0" g="0" b="0"/>
        </a:lnRef>
        <a:fillRef idx="3">
          <a:scrgbClr r="0" g="0" b="0"/>
        </a:fillRef>
        <a:effectRef idx="2">
          <a:scrgbClr r="0" g="0" b="0"/>
        </a:effectRef>
        <a:fontRef idx="minor">
          <a:schemeClr val="lt1"/>
        </a:fontRef>
      </dsp:style>
    </dsp:sp>
    <dsp:sp modelId="{7E9B646F-A801-F04D-9EDB-553A5A3BFCA6}">
      <dsp:nvSpPr>
        <dsp:cNvPr id="0" name=""/>
        <dsp:cNvSpPr/>
      </dsp:nvSpPr>
      <dsp:spPr>
        <a:xfrm>
          <a:off x="129762" y="191546"/>
          <a:ext cx="73648" cy="736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en-US" sz="500" kern="1200" dirty="0"/>
            <a:t>C</a:t>
          </a:r>
        </a:p>
      </dsp:txBody>
      <dsp:txXfrm>
        <a:off x="129762" y="191546"/>
        <a:ext cx="73648" cy="73648"/>
      </dsp:txXfrm>
    </dsp:sp>
    <dsp:sp modelId="{249051EC-F66A-584A-A150-95ED33348B57}">
      <dsp:nvSpPr>
        <dsp:cNvPr id="0" name=""/>
        <dsp:cNvSpPr/>
      </dsp:nvSpPr>
      <dsp:spPr>
        <a:xfrm>
          <a:off x="10775" y="61766"/>
          <a:ext cx="208077" cy="208077"/>
        </a:xfrm>
        <a:prstGeom prst="circularArrow">
          <a:avLst>
            <a:gd name="adj1" fmla="val 6902"/>
            <a:gd name="adj2" fmla="val 465342"/>
            <a:gd name="adj3" fmla="val 5949458"/>
            <a:gd name="adj4" fmla="val 4385200"/>
            <a:gd name="adj5" fmla="val 8052"/>
          </a:avLst>
        </a:prstGeom>
        <a:solidFill>
          <a:schemeClr val="accent1"/>
        </a:solidFill>
        <a:ln>
          <a:noFill/>
        </a:ln>
        <a:effectLst/>
      </dsp:spPr>
      <dsp:style>
        <a:lnRef idx="0">
          <a:scrgbClr r="0" g="0" b="0"/>
        </a:lnRef>
        <a:fillRef idx="3">
          <a:scrgbClr r="0" g="0" b="0"/>
        </a:fillRef>
        <a:effectRef idx="2">
          <a:scrgbClr r="0" g="0" b="0"/>
        </a:effectRef>
        <a:fontRef idx="minor">
          <a:schemeClr val="lt1"/>
        </a:fontRef>
      </dsp:style>
    </dsp:sp>
    <dsp:sp modelId="{03627AB9-E216-8A4B-A7F7-D323A1EC49D9}">
      <dsp:nvSpPr>
        <dsp:cNvPr id="0" name=""/>
        <dsp:cNvSpPr/>
      </dsp:nvSpPr>
      <dsp:spPr>
        <a:xfrm>
          <a:off x="4632" y="191546"/>
          <a:ext cx="73648" cy="736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en-US" sz="500" kern="1200" dirty="0"/>
            <a:t>A</a:t>
          </a:r>
        </a:p>
      </dsp:txBody>
      <dsp:txXfrm>
        <a:off x="4632" y="191546"/>
        <a:ext cx="73648" cy="73648"/>
      </dsp:txXfrm>
    </dsp:sp>
    <dsp:sp modelId="{E4A922D6-F7F7-4049-B5C5-E7FA4E6CFF15}">
      <dsp:nvSpPr>
        <dsp:cNvPr id="0" name=""/>
        <dsp:cNvSpPr/>
      </dsp:nvSpPr>
      <dsp:spPr>
        <a:xfrm>
          <a:off x="-17" y="61766"/>
          <a:ext cx="208077" cy="208077"/>
        </a:xfrm>
        <a:prstGeom prst="circularArrow">
          <a:avLst>
            <a:gd name="adj1" fmla="val 6902"/>
            <a:gd name="adj2" fmla="val 465342"/>
            <a:gd name="adj3" fmla="val 11349458"/>
            <a:gd name="adj4" fmla="val 9785200"/>
            <a:gd name="adj5" fmla="val 8052"/>
          </a:avLst>
        </a:prstGeom>
        <a:solidFill>
          <a:schemeClr val="accent1"/>
        </a:solidFill>
        <a:ln>
          <a:noFill/>
        </a:ln>
        <a:effectLst/>
      </dsp:spPr>
      <dsp:style>
        <a:lnRef idx="0">
          <a:scrgbClr r="0" g="0" b="0"/>
        </a:lnRef>
        <a:fillRef idx="3">
          <a:scrgbClr r="0" g="0" b="0"/>
        </a:fillRef>
        <a:effectRef idx="2">
          <a:scrgbClr r="0" g="0" b="0"/>
        </a:effectRef>
        <a:fontRef idx="minor">
          <a:schemeClr val="lt1"/>
        </a:fontRef>
      </dsp:style>
    </dsp:sp>
    <dsp:sp modelId="{825CBC42-BFBF-574B-8254-A9554F009746}">
      <dsp:nvSpPr>
        <dsp:cNvPr id="0" name=""/>
        <dsp:cNvSpPr/>
      </dsp:nvSpPr>
      <dsp:spPr>
        <a:xfrm>
          <a:off x="4632" y="66416"/>
          <a:ext cx="73648" cy="736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en-US" sz="500" kern="1200" dirty="0"/>
            <a:t>P</a:t>
          </a:r>
        </a:p>
      </dsp:txBody>
      <dsp:txXfrm>
        <a:off x="4632" y="66416"/>
        <a:ext cx="73648" cy="73648"/>
      </dsp:txXfrm>
    </dsp:sp>
    <dsp:sp modelId="{A2B32F0D-B48E-4041-ADAB-2883F1B22FDB}">
      <dsp:nvSpPr>
        <dsp:cNvPr id="0" name=""/>
        <dsp:cNvSpPr/>
      </dsp:nvSpPr>
      <dsp:spPr>
        <a:xfrm>
          <a:off x="-17" y="61766"/>
          <a:ext cx="208077" cy="208077"/>
        </a:xfrm>
        <a:prstGeom prst="circularArrow">
          <a:avLst>
            <a:gd name="adj1" fmla="val 6902"/>
            <a:gd name="adj2" fmla="val 465342"/>
            <a:gd name="adj3" fmla="val 16749458"/>
            <a:gd name="adj4" fmla="val 15185200"/>
            <a:gd name="adj5" fmla="val 8052"/>
          </a:avLst>
        </a:prstGeom>
        <a:solidFill>
          <a:schemeClr val="accent1"/>
        </a:solidFill>
        <a:ln>
          <a:noFill/>
        </a:ln>
        <a:effectLst/>
      </dsp:spPr>
      <dsp:style>
        <a:lnRef idx="0">
          <a:scrgbClr r="0" g="0" b="0"/>
        </a:lnRef>
        <a:fillRef idx="3">
          <a:scrgbClr r="0" g="0" b="0"/>
        </a:fillRef>
        <a:effectRef idx="2">
          <a:scrgbClr r="0" g="0" b="0"/>
        </a:effectRef>
        <a:fontRef idx="minor">
          <a:schemeClr val="lt1"/>
        </a:fontRef>
      </dsp:style>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B4E8802-BF8B-A848-A20A-B295040CFECA}">
      <dsp:nvSpPr>
        <dsp:cNvPr id="0" name=""/>
        <dsp:cNvSpPr/>
      </dsp:nvSpPr>
      <dsp:spPr>
        <a:xfrm>
          <a:off x="129762" y="66416"/>
          <a:ext cx="73648" cy="736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en-US" sz="500" kern="1200" dirty="0"/>
            <a:t>D</a:t>
          </a:r>
        </a:p>
      </dsp:txBody>
      <dsp:txXfrm>
        <a:off x="129762" y="66416"/>
        <a:ext cx="73648" cy="73648"/>
      </dsp:txXfrm>
    </dsp:sp>
    <dsp:sp modelId="{B3CA27BA-A25B-9340-B4F8-A7174A728D9A}">
      <dsp:nvSpPr>
        <dsp:cNvPr id="0" name=""/>
        <dsp:cNvSpPr/>
      </dsp:nvSpPr>
      <dsp:spPr>
        <a:xfrm>
          <a:off x="-17" y="61766"/>
          <a:ext cx="208077" cy="208077"/>
        </a:xfrm>
        <a:prstGeom prst="circularArrow">
          <a:avLst>
            <a:gd name="adj1" fmla="val 6902"/>
            <a:gd name="adj2" fmla="val 465342"/>
            <a:gd name="adj3" fmla="val 549458"/>
            <a:gd name="adj4" fmla="val 20585200"/>
            <a:gd name="adj5" fmla="val 8052"/>
          </a:avLst>
        </a:prstGeom>
        <a:solidFill>
          <a:schemeClr val="accent1"/>
        </a:solidFill>
        <a:ln>
          <a:noFill/>
        </a:ln>
        <a:effectLst/>
      </dsp:spPr>
      <dsp:style>
        <a:lnRef idx="0">
          <a:scrgbClr r="0" g="0" b="0"/>
        </a:lnRef>
        <a:fillRef idx="3">
          <a:scrgbClr r="0" g="0" b="0"/>
        </a:fillRef>
        <a:effectRef idx="2">
          <a:scrgbClr r="0" g="0" b="0"/>
        </a:effectRef>
        <a:fontRef idx="minor">
          <a:schemeClr val="lt1"/>
        </a:fontRef>
      </dsp:style>
    </dsp:sp>
    <dsp:sp modelId="{7E9B646F-A801-F04D-9EDB-553A5A3BFCA6}">
      <dsp:nvSpPr>
        <dsp:cNvPr id="0" name=""/>
        <dsp:cNvSpPr/>
      </dsp:nvSpPr>
      <dsp:spPr>
        <a:xfrm>
          <a:off x="129762" y="191546"/>
          <a:ext cx="73648" cy="736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en-US" sz="500" kern="1200" dirty="0"/>
            <a:t>C</a:t>
          </a:r>
        </a:p>
      </dsp:txBody>
      <dsp:txXfrm>
        <a:off x="129762" y="191546"/>
        <a:ext cx="73648" cy="73648"/>
      </dsp:txXfrm>
    </dsp:sp>
    <dsp:sp modelId="{249051EC-F66A-584A-A150-95ED33348B57}">
      <dsp:nvSpPr>
        <dsp:cNvPr id="0" name=""/>
        <dsp:cNvSpPr/>
      </dsp:nvSpPr>
      <dsp:spPr>
        <a:xfrm>
          <a:off x="10775" y="61766"/>
          <a:ext cx="208077" cy="208077"/>
        </a:xfrm>
        <a:prstGeom prst="circularArrow">
          <a:avLst>
            <a:gd name="adj1" fmla="val 6902"/>
            <a:gd name="adj2" fmla="val 465342"/>
            <a:gd name="adj3" fmla="val 5949458"/>
            <a:gd name="adj4" fmla="val 4385200"/>
            <a:gd name="adj5" fmla="val 8052"/>
          </a:avLst>
        </a:prstGeom>
        <a:solidFill>
          <a:schemeClr val="accent1"/>
        </a:solidFill>
        <a:ln>
          <a:noFill/>
        </a:ln>
        <a:effectLst/>
      </dsp:spPr>
      <dsp:style>
        <a:lnRef idx="0">
          <a:scrgbClr r="0" g="0" b="0"/>
        </a:lnRef>
        <a:fillRef idx="3">
          <a:scrgbClr r="0" g="0" b="0"/>
        </a:fillRef>
        <a:effectRef idx="2">
          <a:scrgbClr r="0" g="0" b="0"/>
        </a:effectRef>
        <a:fontRef idx="minor">
          <a:schemeClr val="lt1"/>
        </a:fontRef>
      </dsp:style>
    </dsp:sp>
    <dsp:sp modelId="{03627AB9-E216-8A4B-A7F7-D323A1EC49D9}">
      <dsp:nvSpPr>
        <dsp:cNvPr id="0" name=""/>
        <dsp:cNvSpPr/>
      </dsp:nvSpPr>
      <dsp:spPr>
        <a:xfrm>
          <a:off x="4632" y="191546"/>
          <a:ext cx="73648" cy="736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en-US" sz="500" kern="1200" dirty="0"/>
            <a:t>A</a:t>
          </a:r>
        </a:p>
      </dsp:txBody>
      <dsp:txXfrm>
        <a:off x="4632" y="191546"/>
        <a:ext cx="73648" cy="73648"/>
      </dsp:txXfrm>
    </dsp:sp>
    <dsp:sp modelId="{E4A922D6-F7F7-4049-B5C5-E7FA4E6CFF15}">
      <dsp:nvSpPr>
        <dsp:cNvPr id="0" name=""/>
        <dsp:cNvSpPr/>
      </dsp:nvSpPr>
      <dsp:spPr>
        <a:xfrm>
          <a:off x="-17" y="61766"/>
          <a:ext cx="208077" cy="208077"/>
        </a:xfrm>
        <a:prstGeom prst="circularArrow">
          <a:avLst>
            <a:gd name="adj1" fmla="val 6902"/>
            <a:gd name="adj2" fmla="val 465342"/>
            <a:gd name="adj3" fmla="val 11349458"/>
            <a:gd name="adj4" fmla="val 9785200"/>
            <a:gd name="adj5" fmla="val 8052"/>
          </a:avLst>
        </a:prstGeom>
        <a:solidFill>
          <a:schemeClr val="accent1"/>
        </a:solidFill>
        <a:ln>
          <a:noFill/>
        </a:ln>
        <a:effectLst/>
      </dsp:spPr>
      <dsp:style>
        <a:lnRef idx="0">
          <a:scrgbClr r="0" g="0" b="0"/>
        </a:lnRef>
        <a:fillRef idx="3">
          <a:scrgbClr r="0" g="0" b="0"/>
        </a:fillRef>
        <a:effectRef idx="2">
          <a:scrgbClr r="0" g="0" b="0"/>
        </a:effectRef>
        <a:fontRef idx="minor">
          <a:schemeClr val="lt1"/>
        </a:fontRef>
      </dsp:style>
    </dsp:sp>
    <dsp:sp modelId="{825CBC42-BFBF-574B-8254-A9554F009746}">
      <dsp:nvSpPr>
        <dsp:cNvPr id="0" name=""/>
        <dsp:cNvSpPr/>
      </dsp:nvSpPr>
      <dsp:spPr>
        <a:xfrm>
          <a:off x="4632" y="66416"/>
          <a:ext cx="73648" cy="736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en-US" sz="500" kern="1200" dirty="0"/>
            <a:t>P</a:t>
          </a:r>
        </a:p>
      </dsp:txBody>
      <dsp:txXfrm>
        <a:off x="4632" y="66416"/>
        <a:ext cx="73648" cy="73648"/>
      </dsp:txXfrm>
    </dsp:sp>
    <dsp:sp modelId="{A2B32F0D-B48E-4041-ADAB-2883F1B22FDB}">
      <dsp:nvSpPr>
        <dsp:cNvPr id="0" name=""/>
        <dsp:cNvSpPr/>
      </dsp:nvSpPr>
      <dsp:spPr>
        <a:xfrm>
          <a:off x="-17" y="61766"/>
          <a:ext cx="208077" cy="208077"/>
        </a:xfrm>
        <a:prstGeom prst="circularArrow">
          <a:avLst>
            <a:gd name="adj1" fmla="val 6902"/>
            <a:gd name="adj2" fmla="val 465342"/>
            <a:gd name="adj3" fmla="val 16749458"/>
            <a:gd name="adj4" fmla="val 15185200"/>
            <a:gd name="adj5" fmla="val 8052"/>
          </a:avLst>
        </a:prstGeom>
        <a:solidFill>
          <a:schemeClr val="accent1"/>
        </a:solidFill>
        <a:ln>
          <a:noFill/>
        </a:ln>
        <a:effectLst/>
      </dsp:spPr>
      <dsp:style>
        <a:lnRef idx="0">
          <a:scrgbClr r="0" g="0" b="0"/>
        </a:lnRef>
        <a:fillRef idx="3">
          <a:scrgbClr r="0" g="0" b="0"/>
        </a:fillRef>
        <a:effectRef idx="2">
          <a:scrgbClr r="0" g="0" b="0"/>
        </a:effectRef>
        <a:fontRef idx="minor">
          <a:schemeClr val="lt1"/>
        </a:fontRef>
      </dsp:style>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B4E8802-BF8B-A848-A20A-B295040CFECA}">
      <dsp:nvSpPr>
        <dsp:cNvPr id="0" name=""/>
        <dsp:cNvSpPr/>
      </dsp:nvSpPr>
      <dsp:spPr>
        <a:xfrm>
          <a:off x="129762" y="66416"/>
          <a:ext cx="73648" cy="736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en-US" sz="500" kern="1200" dirty="0"/>
            <a:t>D</a:t>
          </a:r>
        </a:p>
      </dsp:txBody>
      <dsp:txXfrm>
        <a:off x="129762" y="66416"/>
        <a:ext cx="73648" cy="73648"/>
      </dsp:txXfrm>
    </dsp:sp>
    <dsp:sp modelId="{B3CA27BA-A25B-9340-B4F8-A7174A728D9A}">
      <dsp:nvSpPr>
        <dsp:cNvPr id="0" name=""/>
        <dsp:cNvSpPr/>
      </dsp:nvSpPr>
      <dsp:spPr>
        <a:xfrm>
          <a:off x="-17" y="61766"/>
          <a:ext cx="208077" cy="208077"/>
        </a:xfrm>
        <a:prstGeom prst="circularArrow">
          <a:avLst>
            <a:gd name="adj1" fmla="val 6902"/>
            <a:gd name="adj2" fmla="val 465342"/>
            <a:gd name="adj3" fmla="val 549458"/>
            <a:gd name="adj4" fmla="val 20585200"/>
            <a:gd name="adj5" fmla="val 8052"/>
          </a:avLst>
        </a:prstGeom>
        <a:solidFill>
          <a:schemeClr val="accent1"/>
        </a:solidFill>
        <a:ln>
          <a:noFill/>
        </a:ln>
        <a:effectLst/>
      </dsp:spPr>
      <dsp:style>
        <a:lnRef idx="0">
          <a:scrgbClr r="0" g="0" b="0"/>
        </a:lnRef>
        <a:fillRef idx="3">
          <a:scrgbClr r="0" g="0" b="0"/>
        </a:fillRef>
        <a:effectRef idx="2">
          <a:scrgbClr r="0" g="0" b="0"/>
        </a:effectRef>
        <a:fontRef idx="minor">
          <a:schemeClr val="lt1"/>
        </a:fontRef>
      </dsp:style>
    </dsp:sp>
    <dsp:sp modelId="{7E9B646F-A801-F04D-9EDB-553A5A3BFCA6}">
      <dsp:nvSpPr>
        <dsp:cNvPr id="0" name=""/>
        <dsp:cNvSpPr/>
      </dsp:nvSpPr>
      <dsp:spPr>
        <a:xfrm>
          <a:off x="129762" y="191546"/>
          <a:ext cx="73648" cy="736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en-US" sz="500" kern="1200" dirty="0"/>
            <a:t>C</a:t>
          </a:r>
        </a:p>
      </dsp:txBody>
      <dsp:txXfrm>
        <a:off x="129762" y="191546"/>
        <a:ext cx="73648" cy="73648"/>
      </dsp:txXfrm>
    </dsp:sp>
    <dsp:sp modelId="{249051EC-F66A-584A-A150-95ED33348B57}">
      <dsp:nvSpPr>
        <dsp:cNvPr id="0" name=""/>
        <dsp:cNvSpPr/>
      </dsp:nvSpPr>
      <dsp:spPr>
        <a:xfrm>
          <a:off x="10775" y="61766"/>
          <a:ext cx="208077" cy="208077"/>
        </a:xfrm>
        <a:prstGeom prst="circularArrow">
          <a:avLst>
            <a:gd name="adj1" fmla="val 6902"/>
            <a:gd name="adj2" fmla="val 465342"/>
            <a:gd name="adj3" fmla="val 5949458"/>
            <a:gd name="adj4" fmla="val 4385200"/>
            <a:gd name="adj5" fmla="val 8052"/>
          </a:avLst>
        </a:prstGeom>
        <a:solidFill>
          <a:schemeClr val="accent1"/>
        </a:solidFill>
        <a:ln>
          <a:noFill/>
        </a:ln>
        <a:effectLst/>
      </dsp:spPr>
      <dsp:style>
        <a:lnRef idx="0">
          <a:scrgbClr r="0" g="0" b="0"/>
        </a:lnRef>
        <a:fillRef idx="3">
          <a:scrgbClr r="0" g="0" b="0"/>
        </a:fillRef>
        <a:effectRef idx="2">
          <a:scrgbClr r="0" g="0" b="0"/>
        </a:effectRef>
        <a:fontRef idx="minor">
          <a:schemeClr val="lt1"/>
        </a:fontRef>
      </dsp:style>
    </dsp:sp>
    <dsp:sp modelId="{03627AB9-E216-8A4B-A7F7-D323A1EC49D9}">
      <dsp:nvSpPr>
        <dsp:cNvPr id="0" name=""/>
        <dsp:cNvSpPr/>
      </dsp:nvSpPr>
      <dsp:spPr>
        <a:xfrm>
          <a:off x="4632" y="191546"/>
          <a:ext cx="73648" cy="736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en-US" sz="500" kern="1200" dirty="0"/>
            <a:t>A</a:t>
          </a:r>
        </a:p>
      </dsp:txBody>
      <dsp:txXfrm>
        <a:off x="4632" y="191546"/>
        <a:ext cx="73648" cy="73648"/>
      </dsp:txXfrm>
    </dsp:sp>
    <dsp:sp modelId="{E4A922D6-F7F7-4049-B5C5-E7FA4E6CFF15}">
      <dsp:nvSpPr>
        <dsp:cNvPr id="0" name=""/>
        <dsp:cNvSpPr/>
      </dsp:nvSpPr>
      <dsp:spPr>
        <a:xfrm>
          <a:off x="-17" y="61766"/>
          <a:ext cx="208077" cy="208077"/>
        </a:xfrm>
        <a:prstGeom prst="circularArrow">
          <a:avLst>
            <a:gd name="adj1" fmla="val 6902"/>
            <a:gd name="adj2" fmla="val 465342"/>
            <a:gd name="adj3" fmla="val 11349458"/>
            <a:gd name="adj4" fmla="val 9785200"/>
            <a:gd name="adj5" fmla="val 8052"/>
          </a:avLst>
        </a:prstGeom>
        <a:solidFill>
          <a:schemeClr val="accent1"/>
        </a:solidFill>
        <a:ln>
          <a:noFill/>
        </a:ln>
        <a:effectLst/>
      </dsp:spPr>
      <dsp:style>
        <a:lnRef idx="0">
          <a:scrgbClr r="0" g="0" b="0"/>
        </a:lnRef>
        <a:fillRef idx="3">
          <a:scrgbClr r="0" g="0" b="0"/>
        </a:fillRef>
        <a:effectRef idx="2">
          <a:scrgbClr r="0" g="0" b="0"/>
        </a:effectRef>
        <a:fontRef idx="minor">
          <a:schemeClr val="lt1"/>
        </a:fontRef>
      </dsp:style>
    </dsp:sp>
    <dsp:sp modelId="{825CBC42-BFBF-574B-8254-A9554F009746}">
      <dsp:nvSpPr>
        <dsp:cNvPr id="0" name=""/>
        <dsp:cNvSpPr/>
      </dsp:nvSpPr>
      <dsp:spPr>
        <a:xfrm>
          <a:off x="4632" y="66416"/>
          <a:ext cx="73648" cy="736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en-US" sz="500" kern="1200" dirty="0"/>
            <a:t>P</a:t>
          </a:r>
        </a:p>
      </dsp:txBody>
      <dsp:txXfrm>
        <a:off x="4632" y="66416"/>
        <a:ext cx="73648" cy="73648"/>
      </dsp:txXfrm>
    </dsp:sp>
    <dsp:sp modelId="{A2B32F0D-B48E-4041-ADAB-2883F1B22FDB}">
      <dsp:nvSpPr>
        <dsp:cNvPr id="0" name=""/>
        <dsp:cNvSpPr/>
      </dsp:nvSpPr>
      <dsp:spPr>
        <a:xfrm>
          <a:off x="-17" y="61766"/>
          <a:ext cx="208077" cy="208077"/>
        </a:xfrm>
        <a:prstGeom prst="circularArrow">
          <a:avLst>
            <a:gd name="adj1" fmla="val 6902"/>
            <a:gd name="adj2" fmla="val 465342"/>
            <a:gd name="adj3" fmla="val 16749458"/>
            <a:gd name="adj4" fmla="val 15185200"/>
            <a:gd name="adj5" fmla="val 8052"/>
          </a:avLst>
        </a:prstGeom>
        <a:solidFill>
          <a:schemeClr val="accent1"/>
        </a:solidFill>
        <a:ln>
          <a:noFill/>
        </a:ln>
        <a:effectLst/>
      </dsp:spPr>
      <dsp:style>
        <a:lnRef idx="0">
          <a:scrgbClr r="0" g="0" b="0"/>
        </a:lnRef>
        <a:fillRef idx="3">
          <a:scrgbClr r="0" g="0" b="0"/>
        </a:fillRef>
        <a:effectRef idx="2">
          <a:scrgbClr r="0" g="0" b="0"/>
        </a:effectRef>
        <a:fontRef idx="minor">
          <a:schemeClr val="lt1"/>
        </a:fontRef>
      </dsp:style>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B4E8802-BF8B-A848-A20A-B295040CFECA}">
      <dsp:nvSpPr>
        <dsp:cNvPr id="0" name=""/>
        <dsp:cNvSpPr/>
      </dsp:nvSpPr>
      <dsp:spPr>
        <a:xfrm>
          <a:off x="129762" y="66416"/>
          <a:ext cx="73648" cy="736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en-US" sz="500" kern="1200" dirty="0"/>
            <a:t>D</a:t>
          </a:r>
        </a:p>
      </dsp:txBody>
      <dsp:txXfrm>
        <a:off x="129762" y="66416"/>
        <a:ext cx="73648" cy="73648"/>
      </dsp:txXfrm>
    </dsp:sp>
    <dsp:sp modelId="{B3CA27BA-A25B-9340-B4F8-A7174A728D9A}">
      <dsp:nvSpPr>
        <dsp:cNvPr id="0" name=""/>
        <dsp:cNvSpPr/>
      </dsp:nvSpPr>
      <dsp:spPr>
        <a:xfrm>
          <a:off x="-17" y="61766"/>
          <a:ext cx="208077" cy="208077"/>
        </a:xfrm>
        <a:prstGeom prst="circularArrow">
          <a:avLst>
            <a:gd name="adj1" fmla="val 6902"/>
            <a:gd name="adj2" fmla="val 465342"/>
            <a:gd name="adj3" fmla="val 549458"/>
            <a:gd name="adj4" fmla="val 20585200"/>
            <a:gd name="adj5" fmla="val 8052"/>
          </a:avLst>
        </a:prstGeom>
        <a:solidFill>
          <a:schemeClr val="accent1"/>
        </a:solidFill>
        <a:ln>
          <a:noFill/>
        </a:ln>
        <a:effectLst/>
      </dsp:spPr>
      <dsp:style>
        <a:lnRef idx="0">
          <a:scrgbClr r="0" g="0" b="0"/>
        </a:lnRef>
        <a:fillRef idx="3">
          <a:scrgbClr r="0" g="0" b="0"/>
        </a:fillRef>
        <a:effectRef idx="2">
          <a:scrgbClr r="0" g="0" b="0"/>
        </a:effectRef>
        <a:fontRef idx="minor">
          <a:schemeClr val="lt1"/>
        </a:fontRef>
      </dsp:style>
    </dsp:sp>
    <dsp:sp modelId="{7E9B646F-A801-F04D-9EDB-553A5A3BFCA6}">
      <dsp:nvSpPr>
        <dsp:cNvPr id="0" name=""/>
        <dsp:cNvSpPr/>
      </dsp:nvSpPr>
      <dsp:spPr>
        <a:xfrm>
          <a:off x="129762" y="191546"/>
          <a:ext cx="73648" cy="736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en-US" sz="500" kern="1200" dirty="0"/>
            <a:t>C</a:t>
          </a:r>
        </a:p>
      </dsp:txBody>
      <dsp:txXfrm>
        <a:off x="129762" y="191546"/>
        <a:ext cx="73648" cy="73648"/>
      </dsp:txXfrm>
    </dsp:sp>
    <dsp:sp modelId="{249051EC-F66A-584A-A150-95ED33348B57}">
      <dsp:nvSpPr>
        <dsp:cNvPr id="0" name=""/>
        <dsp:cNvSpPr/>
      </dsp:nvSpPr>
      <dsp:spPr>
        <a:xfrm>
          <a:off x="10775" y="61766"/>
          <a:ext cx="208077" cy="208077"/>
        </a:xfrm>
        <a:prstGeom prst="circularArrow">
          <a:avLst>
            <a:gd name="adj1" fmla="val 6902"/>
            <a:gd name="adj2" fmla="val 465342"/>
            <a:gd name="adj3" fmla="val 5949458"/>
            <a:gd name="adj4" fmla="val 4385200"/>
            <a:gd name="adj5" fmla="val 8052"/>
          </a:avLst>
        </a:prstGeom>
        <a:solidFill>
          <a:schemeClr val="accent1"/>
        </a:solidFill>
        <a:ln>
          <a:noFill/>
        </a:ln>
        <a:effectLst/>
      </dsp:spPr>
      <dsp:style>
        <a:lnRef idx="0">
          <a:scrgbClr r="0" g="0" b="0"/>
        </a:lnRef>
        <a:fillRef idx="3">
          <a:scrgbClr r="0" g="0" b="0"/>
        </a:fillRef>
        <a:effectRef idx="2">
          <a:scrgbClr r="0" g="0" b="0"/>
        </a:effectRef>
        <a:fontRef idx="minor">
          <a:schemeClr val="lt1"/>
        </a:fontRef>
      </dsp:style>
    </dsp:sp>
    <dsp:sp modelId="{03627AB9-E216-8A4B-A7F7-D323A1EC49D9}">
      <dsp:nvSpPr>
        <dsp:cNvPr id="0" name=""/>
        <dsp:cNvSpPr/>
      </dsp:nvSpPr>
      <dsp:spPr>
        <a:xfrm>
          <a:off x="4632" y="191546"/>
          <a:ext cx="73648" cy="736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en-US" sz="500" kern="1200" dirty="0"/>
            <a:t>A</a:t>
          </a:r>
        </a:p>
      </dsp:txBody>
      <dsp:txXfrm>
        <a:off x="4632" y="191546"/>
        <a:ext cx="73648" cy="73648"/>
      </dsp:txXfrm>
    </dsp:sp>
    <dsp:sp modelId="{E4A922D6-F7F7-4049-B5C5-E7FA4E6CFF15}">
      <dsp:nvSpPr>
        <dsp:cNvPr id="0" name=""/>
        <dsp:cNvSpPr/>
      </dsp:nvSpPr>
      <dsp:spPr>
        <a:xfrm>
          <a:off x="-17" y="61766"/>
          <a:ext cx="208077" cy="208077"/>
        </a:xfrm>
        <a:prstGeom prst="circularArrow">
          <a:avLst>
            <a:gd name="adj1" fmla="val 6902"/>
            <a:gd name="adj2" fmla="val 465342"/>
            <a:gd name="adj3" fmla="val 11349458"/>
            <a:gd name="adj4" fmla="val 9785200"/>
            <a:gd name="adj5" fmla="val 8052"/>
          </a:avLst>
        </a:prstGeom>
        <a:solidFill>
          <a:schemeClr val="accent1"/>
        </a:solidFill>
        <a:ln>
          <a:noFill/>
        </a:ln>
        <a:effectLst/>
      </dsp:spPr>
      <dsp:style>
        <a:lnRef idx="0">
          <a:scrgbClr r="0" g="0" b="0"/>
        </a:lnRef>
        <a:fillRef idx="3">
          <a:scrgbClr r="0" g="0" b="0"/>
        </a:fillRef>
        <a:effectRef idx="2">
          <a:scrgbClr r="0" g="0" b="0"/>
        </a:effectRef>
        <a:fontRef idx="minor">
          <a:schemeClr val="lt1"/>
        </a:fontRef>
      </dsp:style>
    </dsp:sp>
    <dsp:sp modelId="{825CBC42-BFBF-574B-8254-A9554F009746}">
      <dsp:nvSpPr>
        <dsp:cNvPr id="0" name=""/>
        <dsp:cNvSpPr/>
      </dsp:nvSpPr>
      <dsp:spPr>
        <a:xfrm>
          <a:off x="4632" y="66416"/>
          <a:ext cx="73648" cy="736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en-US" sz="500" kern="1200" dirty="0"/>
            <a:t>P</a:t>
          </a:r>
        </a:p>
      </dsp:txBody>
      <dsp:txXfrm>
        <a:off x="4632" y="66416"/>
        <a:ext cx="73648" cy="73648"/>
      </dsp:txXfrm>
    </dsp:sp>
    <dsp:sp modelId="{A2B32F0D-B48E-4041-ADAB-2883F1B22FDB}">
      <dsp:nvSpPr>
        <dsp:cNvPr id="0" name=""/>
        <dsp:cNvSpPr/>
      </dsp:nvSpPr>
      <dsp:spPr>
        <a:xfrm>
          <a:off x="-17" y="61766"/>
          <a:ext cx="208077" cy="208077"/>
        </a:xfrm>
        <a:prstGeom prst="circularArrow">
          <a:avLst>
            <a:gd name="adj1" fmla="val 6902"/>
            <a:gd name="adj2" fmla="val 465342"/>
            <a:gd name="adj3" fmla="val 16749458"/>
            <a:gd name="adj4" fmla="val 15185200"/>
            <a:gd name="adj5" fmla="val 8052"/>
          </a:avLst>
        </a:prstGeom>
        <a:solidFill>
          <a:schemeClr val="accent1"/>
        </a:solidFill>
        <a:ln>
          <a:noFill/>
        </a:ln>
        <a:effectLst/>
      </dsp:spPr>
      <dsp:style>
        <a:lnRef idx="0">
          <a:scrgbClr r="0" g="0" b="0"/>
        </a:lnRef>
        <a:fillRef idx="3">
          <a:scrgbClr r="0" g="0" b="0"/>
        </a:fillRef>
        <a:effectRef idx="2">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a:xfrm>
            <a:off x="3884613" y="8644502"/>
            <a:ext cx="2971800" cy="455057"/>
          </a:xfrm>
          <a:prstGeom prst="rect">
            <a:avLst/>
          </a:prstGeom>
        </p:spPr>
        <p:txBody>
          <a:bodyPr vert="horz" lIns="91440" tIns="45720" rIns="91440" bIns="45720" rtlCol="0" anchor="b"/>
          <a:lstStyle>
            <a:lvl1pPr algn="r">
              <a:defRPr sz="1200"/>
            </a:lvl1pPr>
          </a:lstStyle>
          <a:p>
            <a:fld id="{21BF4816-14EF-D641-A5AB-1D409B5B8EC6}" type="slidenum">
              <a:rPr lang="en-US" smtClean="0"/>
              <a:pPr/>
              <a:t>‹#›</a:t>
            </a:fld>
            <a:endParaRPr lang="en-US"/>
          </a:p>
        </p:txBody>
      </p:sp>
    </p:spTree>
    <p:extLst>
      <p:ext uri="{BB962C8B-B14F-4D97-AF65-F5344CB8AC3E}">
        <p14:creationId xmlns:p14="http://schemas.microsoft.com/office/powerpoint/2010/main" val="160237181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5057"/>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5057"/>
          </a:xfrm>
          <a:prstGeom prst="rect">
            <a:avLst/>
          </a:prstGeom>
        </p:spPr>
        <p:txBody>
          <a:bodyPr vert="horz" lIns="91440" tIns="45720" rIns="91440" bIns="45720" rtlCol="0"/>
          <a:lstStyle>
            <a:lvl1pPr algn="r">
              <a:defRPr sz="1200"/>
            </a:lvl1pPr>
          </a:lstStyle>
          <a:p>
            <a:fld id="{3265713E-A514-4470-823F-2D78992CD43C}" type="datetimeFigureOut">
              <a:rPr lang="en-US" smtClean="0"/>
              <a:pPr/>
              <a:t>2/21/19</a:t>
            </a:fld>
            <a:endParaRPr lang="en-US" dirty="0"/>
          </a:p>
        </p:txBody>
      </p:sp>
      <p:sp>
        <p:nvSpPr>
          <p:cNvPr id="4" name="Slide Image Placeholder 3"/>
          <p:cNvSpPr>
            <a:spLocks noGrp="1" noRot="1" noChangeAspect="1"/>
          </p:cNvSpPr>
          <p:nvPr>
            <p:ph type="sldImg" idx="2"/>
          </p:nvPr>
        </p:nvSpPr>
        <p:spPr>
          <a:xfrm>
            <a:off x="395288" y="682625"/>
            <a:ext cx="6067425" cy="3413125"/>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23041"/>
            <a:ext cx="5486400" cy="409551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44502"/>
            <a:ext cx="2971800" cy="45505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44502"/>
            <a:ext cx="2971800" cy="455057"/>
          </a:xfrm>
          <a:prstGeom prst="rect">
            <a:avLst/>
          </a:prstGeom>
        </p:spPr>
        <p:txBody>
          <a:bodyPr vert="horz" lIns="91440" tIns="45720" rIns="91440" bIns="45720" rtlCol="0" anchor="b"/>
          <a:lstStyle>
            <a:lvl1pPr algn="r">
              <a:defRPr sz="1200"/>
            </a:lvl1pPr>
          </a:lstStyle>
          <a:p>
            <a:fld id="{F0EB2F42-7EB3-426A-AE0F-BE645EFDC311}" type="slidenum">
              <a:rPr lang="en-US" smtClean="0"/>
              <a:pPr/>
              <a:t>‹#›</a:t>
            </a:fld>
            <a:endParaRPr lang="en-US" dirty="0"/>
          </a:p>
        </p:txBody>
      </p:sp>
    </p:spTree>
    <p:extLst>
      <p:ext uri="{BB962C8B-B14F-4D97-AF65-F5344CB8AC3E}">
        <p14:creationId xmlns:p14="http://schemas.microsoft.com/office/powerpoint/2010/main" val="20447721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F0EB2F42-7EB3-426A-AE0F-BE645EFDC311}" type="slidenum">
              <a:rPr lang="en-US" smtClean="0"/>
              <a:pPr/>
              <a:t>1</a:t>
            </a:fld>
            <a:endParaRPr lang="en-US" dirty="0"/>
          </a:p>
        </p:txBody>
      </p:sp>
    </p:spTree>
    <p:extLst>
      <p:ext uri="{BB962C8B-B14F-4D97-AF65-F5344CB8AC3E}">
        <p14:creationId xmlns:p14="http://schemas.microsoft.com/office/powerpoint/2010/main" val="336756031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On the previous slide, we said that Number 1 was to </a:t>
            </a:r>
            <a:r>
              <a:rPr lang="en-US" sz="1200" b="1" i="1" kern="1200" dirty="0">
                <a:solidFill>
                  <a:schemeClr val="tx1"/>
                </a:solidFill>
                <a:effectLst/>
                <a:latin typeface="+mn-lt"/>
                <a:ea typeface="+mn-ea"/>
                <a:cs typeface="+mn-cs"/>
              </a:rPr>
              <a:t>take an economic view</a:t>
            </a:r>
            <a:r>
              <a:rPr lang="en-US" sz="1200" kern="1200" dirty="0">
                <a:solidFill>
                  <a:schemeClr val="tx1"/>
                </a:solidFill>
                <a:effectLst/>
                <a:latin typeface="+mn-lt"/>
                <a:ea typeface="+mn-ea"/>
                <a:cs typeface="+mn-cs"/>
              </a:rPr>
              <a:t>.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Here's a first look at the economics of Agile development. </a:t>
            </a: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Specifically: </a:t>
            </a:r>
            <a:r>
              <a:rPr lang="en-US" sz="1200" b="1" kern="1200" dirty="0">
                <a:solidFill>
                  <a:schemeClr val="tx1"/>
                </a:solidFill>
                <a:effectLst/>
                <a:latin typeface="+mn-lt"/>
                <a:ea typeface="+mn-ea"/>
                <a:cs typeface="+mn-cs"/>
              </a:rPr>
              <a:t>Building incrementally accelerates value delivery</a:t>
            </a:r>
            <a:r>
              <a:rPr lang="en-US" sz="1200" kern="1200" dirty="0">
                <a:solidFill>
                  <a:schemeClr val="tx1"/>
                </a:solidFill>
                <a:effectLst/>
                <a:latin typeface="+mn-lt"/>
                <a:ea typeface="+mn-ea"/>
                <a:cs typeface="+mn-cs"/>
              </a:rPr>
              <a:t>.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raditionally, we looked at things as a series of steps. Our traditional waterfall life cycle had us doing what made sense: We did our requirements, our design, our implementation, and our verification—in that order. It's hard to argue with that; you couldn't do the implementation before you did the requirements, for example.</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But we've learned a few things in the last couple of decades, and we now understand that it's possible—with the right constructs, the right thinking, and the right culture—to develop and deliver incrementally….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that's the basic nature of Agile and Lean development, as compared to our traditional development models.</a:t>
            </a:r>
          </a:p>
          <a:p>
            <a:pPr defTabSz="914303">
              <a:defRPr/>
            </a:pPr>
            <a:endParaRPr lang="en-US" dirty="0">
              <a:latin typeface="Arial"/>
            </a:endParaRPr>
          </a:p>
        </p:txBody>
      </p:sp>
      <p:sp>
        <p:nvSpPr>
          <p:cNvPr id="4" name="Slide Number Placeholder 3"/>
          <p:cNvSpPr>
            <a:spLocks noGrp="1"/>
          </p:cNvSpPr>
          <p:nvPr>
            <p:ph type="sldNum" sz="quarter" idx="10"/>
          </p:nvPr>
        </p:nvSpPr>
        <p:spPr/>
        <p:txBody>
          <a:bodyPr/>
          <a:lstStyle/>
          <a:p>
            <a:fld id="{F0EB2F42-7EB3-426A-AE0F-BE645EFDC311}" type="slidenum">
              <a:rPr lang="en-US">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35531619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e result is much better outcomes because each incremental delivery produces some value very early.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Notice that it's </a:t>
            </a:r>
            <a:r>
              <a:rPr lang="en-US" sz="1200" i="1" kern="1200" dirty="0">
                <a:solidFill>
                  <a:schemeClr val="tx1"/>
                </a:solidFill>
                <a:effectLst/>
                <a:latin typeface="+mn-lt"/>
                <a:ea typeface="+mn-ea"/>
                <a:cs typeface="+mn-cs"/>
              </a:rPr>
              <a:t>very</a:t>
            </a:r>
            <a:r>
              <a:rPr lang="en-US" sz="1200" kern="1200" dirty="0">
                <a:solidFill>
                  <a:schemeClr val="tx1"/>
                </a:solidFill>
                <a:effectLst/>
                <a:latin typeface="+mn-lt"/>
                <a:ea typeface="+mn-ea"/>
                <a:cs typeface="+mn-cs"/>
              </a:rPr>
              <a:t> early compared to waterfall, where even if we execute perfectly we're not getting any value till the end.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But that little box doesn't go away; it stays. It delivers value throughout the time. And if you think about it, this is the integral value of </a:t>
            </a:r>
            <a:r>
              <a:rPr lang="en-US" sz="1200" i="1" kern="1200" dirty="0">
                <a:solidFill>
                  <a:schemeClr val="tx1"/>
                </a:solidFill>
                <a:effectLst/>
                <a:latin typeface="+mn-lt"/>
                <a:ea typeface="+mn-ea"/>
                <a:cs typeface="+mn-cs"/>
              </a:rPr>
              <a:t>all</a:t>
            </a:r>
            <a:r>
              <a:rPr lang="en-US" sz="1200" kern="1200" dirty="0">
                <a:solidFill>
                  <a:schemeClr val="tx1"/>
                </a:solidFill>
                <a:effectLst/>
                <a:latin typeface="+mn-lt"/>
                <a:ea typeface="+mn-ea"/>
                <a:cs typeface="+mn-cs"/>
              </a:rPr>
              <a:t> the value we've delivered to our customer before we even reach what would have been the waterfall deadline.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at's a pretty compelling case. It means that even if you executed waterfall perfectly—and that's pretty hard to do—you still can't compete with the better economics of Agile development. </a:t>
            </a:r>
          </a:p>
          <a:p>
            <a:r>
              <a:rPr lang="en-US" sz="1200" kern="1200" dirty="0">
                <a:solidFill>
                  <a:schemeClr val="tx1"/>
                </a:solidFill>
                <a:effectLst/>
                <a:latin typeface="+mn-lt"/>
                <a:ea typeface="+mn-ea"/>
                <a:cs typeface="+mn-cs"/>
              </a:rPr>
              <a:t>-------</a:t>
            </a:r>
          </a:p>
          <a:p>
            <a:r>
              <a:rPr lang="en-US" sz="1200" kern="1200" dirty="0">
                <a:solidFill>
                  <a:schemeClr val="tx1"/>
                </a:solidFill>
                <a:effectLst/>
                <a:latin typeface="+mn-lt"/>
                <a:ea typeface="+mn-ea"/>
                <a:cs typeface="+mn-cs"/>
              </a:rPr>
              <a:t>[Note: On this slide, it is helpful to illustrate this concept if possible by walking through and drawing on each box to illustrate the benefits of incremental delivery]</a:t>
            </a:r>
          </a:p>
          <a:p>
            <a:endParaRPr lang="en-US" dirty="0"/>
          </a:p>
        </p:txBody>
      </p:sp>
      <p:sp>
        <p:nvSpPr>
          <p:cNvPr id="4" name="Slide Number Placeholder 3"/>
          <p:cNvSpPr>
            <a:spLocks noGrp="1"/>
          </p:cNvSpPr>
          <p:nvPr>
            <p:ph type="sldNum" sz="quarter" idx="10"/>
          </p:nvPr>
        </p:nvSpPr>
        <p:spPr/>
        <p:txBody>
          <a:bodyPr/>
          <a:lstStyle/>
          <a:p>
            <a:fld id="{F0EB2F42-7EB3-426A-AE0F-BE645EFDC311}" type="slidenum">
              <a:rPr lang="en-US" smtClean="0"/>
              <a:pPr/>
              <a:t>13</a:t>
            </a:fld>
            <a:endParaRPr lang="en-US" dirty="0"/>
          </a:p>
        </p:txBody>
      </p:sp>
    </p:spTree>
    <p:extLst>
      <p:ext uri="{BB962C8B-B14F-4D97-AF65-F5344CB8AC3E}">
        <p14:creationId xmlns:p14="http://schemas.microsoft.com/office/powerpoint/2010/main" val="16729432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Next, let's talk about implementing Lean-Agile practices.</a:t>
            </a:r>
          </a:p>
        </p:txBody>
      </p:sp>
      <p:sp>
        <p:nvSpPr>
          <p:cNvPr id="4" name="Slide Number Placeholder 3"/>
          <p:cNvSpPr>
            <a:spLocks noGrp="1"/>
          </p:cNvSpPr>
          <p:nvPr>
            <p:ph type="sldNum" sz="quarter" idx="10"/>
          </p:nvPr>
        </p:nvSpPr>
        <p:spPr/>
        <p:txBody>
          <a:bodyPr/>
          <a:lstStyle/>
          <a:p>
            <a:fld id="{F0EB2F42-7EB3-426A-AE0F-BE645EFDC311}" type="slidenum">
              <a:rPr lang="en-US" smtClean="0"/>
              <a:pPr/>
              <a:t>14</a:t>
            </a:fld>
            <a:endParaRPr lang="en-US" dirty="0"/>
          </a:p>
        </p:txBody>
      </p:sp>
    </p:spTree>
    <p:extLst>
      <p:ext uri="{BB962C8B-B14F-4D97-AF65-F5344CB8AC3E}">
        <p14:creationId xmlns:p14="http://schemas.microsoft.com/office/powerpoint/2010/main" val="31546132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rPr>
              <a:t>The Framework’s simplest configuration, </a:t>
            </a:r>
            <a:r>
              <a:rPr lang="en-US" sz="1200" b="0" dirty="0">
                <a:solidFill>
                  <a:schemeClr val="accent3"/>
                </a:solidFill>
              </a:rPr>
              <a:t>Essential SAFe </a:t>
            </a:r>
            <a:r>
              <a:rPr lang="en-US" sz="1200" dirty="0">
                <a:solidFill>
                  <a:schemeClr val="bg1"/>
                </a:solidFill>
              </a:rPr>
              <a:t>provides the core practices and roles needed to ensure business results. Learn more at </a:t>
            </a:r>
            <a:r>
              <a:rPr lang="en-US" sz="1200" b="1" dirty="0">
                <a:solidFill>
                  <a:schemeClr val="bg1"/>
                </a:solidFill>
              </a:rPr>
              <a:t>http://</a:t>
            </a:r>
            <a:r>
              <a:rPr lang="en-US" sz="1200" b="1" dirty="0" err="1">
                <a:solidFill>
                  <a:schemeClr val="bg1"/>
                </a:solidFill>
              </a:rPr>
              <a:t>www.scaledagileframework.com</a:t>
            </a:r>
            <a:r>
              <a:rPr lang="en-US" sz="1200" b="1" dirty="0">
                <a:solidFill>
                  <a:schemeClr val="bg1"/>
                </a:solidFill>
              </a:rPr>
              <a:t>/essential-safe</a:t>
            </a:r>
          </a:p>
        </p:txBody>
      </p:sp>
    </p:spTree>
    <p:extLst>
      <p:ext uri="{BB962C8B-B14F-4D97-AF65-F5344CB8AC3E}">
        <p14:creationId xmlns:p14="http://schemas.microsoft.com/office/powerpoint/2010/main" val="126079035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It all starts with the </a:t>
            </a:r>
            <a:r>
              <a:rPr lang="en-US" sz="1200" i="1" kern="1200" dirty="0">
                <a:solidFill>
                  <a:schemeClr val="tx1"/>
                </a:solidFill>
                <a:effectLst/>
                <a:latin typeface="+mn-lt"/>
                <a:ea typeface="+mn-ea"/>
                <a:cs typeface="+mn-cs"/>
              </a:rPr>
              <a:t>Agile Team</a:t>
            </a:r>
            <a:r>
              <a:rPr lang="en-US" sz="1200" kern="1200" dirty="0">
                <a:solidFill>
                  <a:schemeClr val="tx1"/>
                </a:solidFill>
                <a:effectLst/>
                <a:latin typeface="+mn-lt"/>
                <a:ea typeface="+mn-ea"/>
                <a:cs typeface="+mn-cs"/>
              </a:rPr>
              <a:t>.</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You see the teams here on the left, and you notice immediately that they're cross-functional. They work together. They're collocated whenever possible, and they execute the basic scientific method of Plan, Do, Check, and Adjust.</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y're cross-functional, largely self-organizing, and largely self-managing.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y can define, build, and test a thing of value. They apply that basic scientific practice in what we call iterations, or sprints: plan, do, check, adjust.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y do that on a cadence, they do it frequently, they do it routinely. Really, that's all they do; that is their development model. Plan, do, check, adjust, and deliver value every two weeks.</a:t>
            </a:r>
          </a:p>
          <a:p>
            <a:pPr marL="0" indent="0">
              <a:buFont typeface="Arial"/>
              <a:buNone/>
            </a:pPr>
            <a:endParaRPr lang="en-US" baseline="0" dirty="0"/>
          </a:p>
        </p:txBody>
      </p:sp>
      <p:sp>
        <p:nvSpPr>
          <p:cNvPr id="4" name="Slide Number Placeholder 3"/>
          <p:cNvSpPr>
            <a:spLocks noGrp="1"/>
          </p:cNvSpPr>
          <p:nvPr>
            <p:ph type="sldNum" sz="quarter" idx="10"/>
          </p:nvPr>
        </p:nvSpPr>
        <p:spPr/>
        <p:txBody>
          <a:bodyPr/>
          <a:lstStyle/>
          <a:p>
            <a:fld id="{F0EB2F42-7EB3-426A-AE0F-BE645EFDC311}" type="slidenum">
              <a:rPr lang="en-US" smtClean="0"/>
              <a:pPr/>
              <a:t>16</a:t>
            </a:fld>
            <a:endParaRPr lang="en-US" dirty="0"/>
          </a:p>
        </p:txBody>
      </p:sp>
    </p:spTree>
    <p:extLst>
      <p:ext uri="{BB962C8B-B14F-4D97-AF65-F5344CB8AC3E}">
        <p14:creationId xmlns:p14="http://schemas.microsoft.com/office/powerpoint/2010/main" val="193372476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kern="1200" dirty="0">
                <a:solidFill>
                  <a:schemeClr val="tx1"/>
                </a:solidFill>
                <a:effectLst/>
                <a:latin typeface="+mn-lt"/>
                <a:ea typeface="+mn-ea"/>
                <a:cs typeface="+mn-cs"/>
              </a:rPr>
              <a:t>Previously we said “</a:t>
            </a:r>
            <a:r>
              <a:rPr lang="en-US" sz="1200" i="1" kern="1200" dirty="0">
                <a:solidFill>
                  <a:schemeClr val="tx1"/>
                </a:solidFill>
                <a:effectLst/>
                <a:latin typeface="+mn-lt"/>
                <a:ea typeface="+mn-ea"/>
                <a:cs typeface="+mn-cs"/>
              </a:rPr>
              <a:t>nothing beats an Agile Team</a:t>
            </a:r>
            <a:r>
              <a:rPr lang="en-US" sz="1200" kern="1200" dirty="0">
                <a:solidFill>
                  <a:schemeClr val="tx1"/>
                </a:solidFill>
                <a:effectLst/>
                <a:latin typeface="+mn-lt"/>
                <a:ea typeface="+mn-ea"/>
                <a:cs typeface="+mn-cs"/>
              </a:rPr>
              <a:t>”</a:t>
            </a:r>
            <a:r>
              <a:rPr lang="is-IS" sz="1200" kern="120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Actually though, there is </a:t>
            </a:r>
            <a:r>
              <a:rPr lang="en-US" sz="1200" i="1" kern="1200" dirty="0">
                <a:solidFill>
                  <a:schemeClr val="tx1"/>
                </a:solidFill>
                <a:effectLst/>
                <a:latin typeface="+mn-lt"/>
                <a:ea typeface="+mn-ea"/>
                <a:cs typeface="+mn-cs"/>
              </a:rPr>
              <a:t>one</a:t>
            </a:r>
            <a:r>
              <a:rPr lang="en-US" sz="1200" kern="1200" baseline="0" dirty="0">
                <a:solidFill>
                  <a:schemeClr val="tx1"/>
                </a:solidFill>
                <a:effectLst/>
                <a:latin typeface="+mn-lt"/>
                <a:ea typeface="+mn-ea"/>
                <a:cs typeface="+mn-cs"/>
              </a:rPr>
              <a:t> thing </a:t>
            </a:r>
            <a:r>
              <a:rPr lang="en-US" sz="1200" kern="1200" dirty="0">
                <a:solidFill>
                  <a:schemeClr val="tx1"/>
                </a:solidFill>
                <a:effectLst/>
                <a:latin typeface="+mn-lt"/>
                <a:ea typeface="+mn-ea"/>
                <a:cs typeface="+mn-cs"/>
              </a:rPr>
              <a:t>that beats an Agile Team. That's </a:t>
            </a:r>
            <a:r>
              <a:rPr lang="en-US" sz="1200" b="1" kern="1200" dirty="0">
                <a:solidFill>
                  <a:schemeClr val="tx1"/>
                </a:solidFill>
                <a:effectLst/>
                <a:latin typeface="+mn-lt"/>
                <a:ea typeface="+mn-ea"/>
                <a:cs typeface="+mn-cs"/>
              </a:rPr>
              <a:t>a </a:t>
            </a:r>
            <a:r>
              <a:rPr lang="en-US" sz="1200" b="1" i="1" kern="1200" dirty="0">
                <a:solidFill>
                  <a:schemeClr val="tx1"/>
                </a:solidFill>
                <a:effectLst/>
                <a:latin typeface="+mn-lt"/>
                <a:ea typeface="+mn-ea"/>
                <a:cs typeface="+mn-cs"/>
              </a:rPr>
              <a:t>team</a:t>
            </a:r>
            <a:r>
              <a:rPr lang="en-US" sz="1200" b="1" kern="1200" dirty="0">
                <a:solidFill>
                  <a:schemeClr val="tx1"/>
                </a:solidFill>
                <a:effectLst/>
                <a:latin typeface="+mn-lt"/>
                <a:ea typeface="+mn-ea"/>
                <a:cs typeface="+mn-cs"/>
              </a:rPr>
              <a:t> of Agile Teams.</a:t>
            </a:r>
            <a:r>
              <a:rPr lang="en-US" sz="1200" kern="1200" dirty="0">
                <a:solidFill>
                  <a:schemeClr val="tx1"/>
                </a:solidFill>
                <a:effectLst/>
                <a:latin typeface="+mn-lt"/>
                <a:ea typeface="+mn-ea"/>
                <a:cs typeface="+mn-cs"/>
              </a:rPr>
              <a:t>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y work together and take an approach that says, "</a:t>
            </a:r>
            <a:r>
              <a:rPr lang="en-US" sz="1200" i="1" kern="1200" dirty="0">
                <a:solidFill>
                  <a:schemeClr val="tx1"/>
                </a:solidFill>
                <a:effectLst/>
                <a:latin typeface="+mn-lt"/>
                <a:ea typeface="+mn-ea"/>
                <a:cs typeface="+mn-cs"/>
              </a:rPr>
              <a:t>Let's take these plan-do-check cycles, and let's accumulate those into larger cycles.</a:t>
            </a:r>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We call this the Agile Release Train.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Agile Release Train aligns 50 to 125 practitioners to a common mission.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We apply cadence and synchronization, program increments every 6 to 12 weeks. So these sprints, or iterations in SAFe, add up very quickly into larger amounts of value.</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We provide vision, roadmap, and architectural guidance. There may be 10 or 15 teams on this train.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For example: Let's say we're going to implement single sign-on….</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We need to decide how to do that, and we want everybody to do it the same way to make sure that we don't introduce security holes in our single sign-on mechanism.</a:t>
            </a:r>
          </a:p>
          <a:p>
            <a:endParaRPr lang="en-US" dirty="0"/>
          </a:p>
          <a:p>
            <a:endParaRPr lang="en-US" dirty="0"/>
          </a:p>
        </p:txBody>
      </p:sp>
      <p:sp>
        <p:nvSpPr>
          <p:cNvPr id="4" name="Slide Number Placeholder 3"/>
          <p:cNvSpPr>
            <a:spLocks noGrp="1"/>
          </p:cNvSpPr>
          <p:nvPr>
            <p:ph type="sldNum" sz="quarter" idx="10"/>
          </p:nvPr>
        </p:nvSpPr>
        <p:spPr/>
        <p:txBody>
          <a:bodyPr/>
          <a:lstStyle/>
          <a:p>
            <a:fld id="{F0EB2F42-7EB3-426A-AE0F-BE645EFDC311}" type="slidenum">
              <a:rPr lang="en-US" smtClean="0"/>
              <a:pPr/>
              <a:t>17</a:t>
            </a:fld>
            <a:endParaRPr lang="en-US" dirty="0"/>
          </a:p>
        </p:txBody>
      </p:sp>
    </p:spTree>
    <p:extLst>
      <p:ext uri="{BB962C8B-B14F-4D97-AF65-F5344CB8AC3E}">
        <p14:creationId xmlns:p14="http://schemas.microsoft.com/office/powerpoint/2010/main" val="115352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e ART truly takes a systems view.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It brings together the people we need to deliver larger amounts of value. That includes our business owners, our representatives from the customers, product management, architecture, systems engineering, hardware, software, testing, people involved in manufacturing or deployment of our solution…. We create this virtual program.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nd the virtual program now has the skills they need. So the ART is cross-functional as well. And it typically contains about 50 to 125 people.</a:t>
            </a:r>
          </a:p>
          <a:p>
            <a:endParaRPr lang="en-US" dirty="0"/>
          </a:p>
        </p:txBody>
      </p:sp>
      <p:sp>
        <p:nvSpPr>
          <p:cNvPr id="4" name="Slide Number Placeholder 3"/>
          <p:cNvSpPr>
            <a:spLocks noGrp="1"/>
          </p:cNvSpPr>
          <p:nvPr>
            <p:ph type="sldNum" sz="quarter" idx="10"/>
          </p:nvPr>
        </p:nvSpPr>
        <p:spPr/>
        <p:txBody>
          <a:bodyPr/>
          <a:lstStyle/>
          <a:p>
            <a:fld id="{F0EB2F42-7EB3-426A-AE0F-BE645EFDC311}" type="slidenum">
              <a:rPr lang="en-US" smtClean="0"/>
              <a:pPr/>
              <a:t>18</a:t>
            </a:fld>
            <a:endParaRPr lang="en-US" dirty="0"/>
          </a:p>
        </p:txBody>
      </p:sp>
    </p:spTree>
    <p:extLst>
      <p:ext uri="{BB962C8B-B14F-4D97-AF65-F5344CB8AC3E}">
        <p14:creationId xmlns:p14="http://schemas.microsoft.com/office/powerpoint/2010/main" val="90470403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20000"/>
          </a:bodyPr>
          <a:lstStyle/>
          <a:p>
            <a:r>
              <a:rPr lang="en-US" sz="1200" kern="1200" dirty="0">
                <a:solidFill>
                  <a:schemeClr val="tx1"/>
                </a:solidFill>
                <a:effectLst/>
                <a:latin typeface="+mn-lt"/>
                <a:ea typeface="+mn-ea"/>
                <a:cs typeface="+mn-cs"/>
              </a:rPr>
              <a:t>The ART synchronizes its work with PI Planning.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Michael Kennedy explained it as: </a:t>
            </a:r>
            <a:r>
              <a:rPr lang="en-US" sz="1200" i="1" kern="1200" dirty="0">
                <a:solidFill>
                  <a:schemeClr val="tx1"/>
                </a:solidFill>
                <a:effectLst/>
                <a:latin typeface="+mn-lt"/>
                <a:ea typeface="+mn-ea"/>
                <a:cs typeface="+mn-cs"/>
              </a:rPr>
              <a:t>"Future product development tasks can't be predetermined. Distribute planning and control to those who can understand and react to the end results."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Here you see a picture of a distributed planning session. There are actually three countries at work here. There's a large group in Mumbai, India; they're not present. There are a lot of folks from Chicago, and some leads and some managers from the teams in Serbia. They're all planning together over a two-day period.</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ypically PI Planning is face to face, but, if it's a large organization, you may not be able to have everybody face to face every time.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Management sets the mission, with minimal possible constraints—that's a key philosophy of Lean Thinking.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Requirements and design emerge. We talk about emergent design as one of the key aspects of Agile, and it emerges here. We call this PI Planning, but there's far more than planning that happens. People collaborate, they determine new requirements, they negotiate teams and dependencies.</a:t>
            </a:r>
          </a:p>
          <a:p>
            <a:r>
              <a:rPr lang="en-US" sz="1200" kern="1200" dirty="0">
                <a:solidFill>
                  <a:schemeClr val="tx1"/>
                </a:solidFill>
                <a:effectLst/>
                <a:latin typeface="+mn-lt"/>
                <a:ea typeface="+mn-ea"/>
                <a:cs typeface="+mn-cs"/>
              </a:rPr>
              <a:t>Business owners add features and take out features to manage scope. Important stakeholder decisions are accelerated in a day—not after six weeks of emails banging around, trying to find the right person to make the decision, but right now.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In this picture, one group of managers at a PI Planning had a sign that said</a:t>
            </a:r>
            <a:r>
              <a:rPr lang="en-US" sz="1200" i="1" kern="1200" dirty="0">
                <a:solidFill>
                  <a:schemeClr val="tx1"/>
                </a:solidFill>
                <a:effectLst/>
                <a:latin typeface="+mn-lt"/>
                <a:ea typeface="+mn-ea"/>
                <a:cs typeface="+mn-cs"/>
              </a:rPr>
              <a:t>, "Help Desk—we're here to help."</a:t>
            </a:r>
            <a:r>
              <a:rPr lang="en-US" sz="1200" kern="1200" dirty="0">
                <a:solidFill>
                  <a:schemeClr val="tx1"/>
                </a:solidFill>
                <a:effectLst/>
                <a:latin typeface="+mn-lt"/>
                <a:ea typeface="+mn-ea"/>
                <a:cs typeface="+mn-cs"/>
              </a:rPr>
              <a:t>  That was a great underscored the important construct that </a:t>
            </a:r>
            <a:r>
              <a:rPr lang="en-US" sz="1200" i="1" kern="1200" dirty="0">
                <a:solidFill>
                  <a:schemeClr val="tx1"/>
                </a:solidFill>
                <a:effectLst/>
                <a:latin typeface="+mn-lt"/>
                <a:ea typeface="+mn-ea"/>
                <a:cs typeface="+mn-cs"/>
              </a:rPr>
              <a:t>if decisions need to be made, they could make those decisions</a:t>
            </a:r>
            <a:r>
              <a:rPr lang="en-US" sz="1200" kern="1200" dirty="0">
                <a:solidFill>
                  <a:schemeClr val="tx1"/>
                </a:solidFill>
                <a:effectLst/>
                <a:latin typeface="+mn-lt"/>
                <a:ea typeface="+mn-ea"/>
                <a:cs typeface="+mn-cs"/>
              </a:rPr>
              <a:t>.</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Ultimately, teams create and take responsibility for the plans, and that's a big difference from our traditional command-and-control, centralized program-planning model. In this case, management sets the vision, but the teams create the plans. </a:t>
            </a:r>
          </a:p>
        </p:txBody>
      </p:sp>
      <p:sp>
        <p:nvSpPr>
          <p:cNvPr id="4" name="Slide Number Placeholder 3"/>
          <p:cNvSpPr>
            <a:spLocks noGrp="1"/>
          </p:cNvSpPr>
          <p:nvPr>
            <p:ph type="sldNum" sz="quarter" idx="10"/>
          </p:nvPr>
        </p:nvSpPr>
        <p:spPr/>
        <p:txBody>
          <a:bodyPr/>
          <a:lstStyle/>
          <a:p>
            <a:fld id="{F0EB2F42-7EB3-426A-AE0F-BE645EFDC311}" type="slidenum">
              <a:rPr lang="en-US" smtClean="0"/>
              <a:pPr/>
              <a:t>20</a:t>
            </a:fld>
            <a:endParaRPr lang="en-US" dirty="0"/>
          </a:p>
        </p:txBody>
      </p:sp>
    </p:spTree>
    <p:extLst>
      <p:ext uri="{BB962C8B-B14F-4D97-AF65-F5344CB8AC3E}">
        <p14:creationId xmlns:p14="http://schemas.microsoft.com/office/powerpoint/2010/main" val="395832170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en they start iterating.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y demonstrate the full system every two weeks— that's the typical increment length.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It's an integrated Solution Demo; it's all the aspects of the solution that you need in order to understand the progress. It's an objective milestone. </a:t>
            </a:r>
          </a:p>
          <a:p>
            <a:r>
              <a:rPr lang="en-US" sz="1200" kern="1200" dirty="0">
                <a:solidFill>
                  <a:schemeClr val="tx1"/>
                </a:solidFill>
                <a:effectLst/>
                <a:latin typeface="+mn-lt"/>
                <a:ea typeface="+mn-ea"/>
                <a:cs typeface="+mn-cs"/>
              </a:rPr>
              <a:t>If the team can't build the system or show new functionality in a couple of weeks, something's probably wrong with their infrastructure or team configuration. Maybe they don't have the people they need. Maybe it's not a fully cross-functional team yet.</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lso, they demo from the staging environment. As we move toward deployment, we want to make sure we're demoing from an environment that's very near the production or deployment environment. </a:t>
            </a:r>
          </a:p>
          <a:p>
            <a:pPr marL="171450" indent="-171450">
              <a:buFont typeface="Arial"/>
              <a:buChar char="•"/>
            </a:pPr>
            <a:endParaRPr lang="en-US" baseline="0" dirty="0"/>
          </a:p>
          <a:p>
            <a:pPr marL="171450" indent="-171450">
              <a:buFont typeface="Arial"/>
              <a:buChar char="•"/>
            </a:pPr>
            <a:endParaRPr lang="en-US" dirty="0"/>
          </a:p>
          <a:p>
            <a:pPr marL="0" indent="0">
              <a:buFont typeface="Arial"/>
              <a:buNone/>
            </a:pPr>
            <a:endParaRPr lang="en-US" dirty="0"/>
          </a:p>
        </p:txBody>
      </p:sp>
      <p:sp>
        <p:nvSpPr>
          <p:cNvPr id="4" name="Slide Number Placeholder 3"/>
          <p:cNvSpPr>
            <a:spLocks noGrp="1"/>
          </p:cNvSpPr>
          <p:nvPr>
            <p:ph type="sldNum" sz="quarter" idx="10"/>
          </p:nvPr>
        </p:nvSpPr>
        <p:spPr/>
        <p:txBody>
          <a:bodyPr/>
          <a:lstStyle/>
          <a:p>
            <a:fld id="{F0EB2F42-7EB3-426A-AE0F-BE645EFDC311}" type="slidenum">
              <a:rPr lang="en-US" smtClean="0"/>
              <a:pPr/>
              <a:t>21</a:t>
            </a:fld>
            <a:endParaRPr lang="en-US" dirty="0"/>
          </a:p>
        </p:txBody>
      </p:sp>
    </p:spTree>
    <p:extLst>
      <p:ext uri="{BB962C8B-B14F-4D97-AF65-F5344CB8AC3E}">
        <p14:creationId xmlns:p14="http://schemas.microsoft.com/office/powerpoint/2010/main" val="63624372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kern="1200" dirty="0">
                <a:solidFill>
                  <a:schemeClr val="tx1"/>
                </a:solidFill>
                <a:effectLst/>
                <a:latin typeface="+mn-lt"/>
                <a:ea typeface="+mn-ea"/>
                <a:cs typeface="+mn-cs"/>
              </a:rPr>
              <a:t>The teams </a:t>
            </a:r>
            <a:r>
              <a:rPr lang="en-US" sz="1200" i="1" kern="1200" dirty="0">
                <a:solidFill>
                  <a:schemeClr val="tx1"/>
                </a:solidFill>
                <a:effectLst/>
                <a:latin typeface="+mn-lt"/>
                <a:ea typeface="+mn-ea"/>
                <a:cs typeface="+mn-cs"/>
              </a:rPr>
              <a:t>inspect and adapt</a:t>
            </a:r>
            <a:r>
              <a:rPr lang="en-US" sz="1200" kern="1200" dirty="0">
                <a:solidFill>
                  <a:schemeClr val="tx1"/>
                </a:solidFill>
                <a:effectLst/>
                <a:latin typeface="+mn-lt"/>
                <a:ea typeface="+mn-ea"/>
                <a:cs typeface="+mn-cs"/>
              </a:rPr>
              <a:t> at every PI. They systematically address the larger impediments. They do so in a very structured problem-solving workshop:</a:t>
            </a:r>
          </a:p>
          <a:p>
            <a:pPr marL="628650" lvl="1" indent="-171450">
              <a:buFont typeface="Arial" charset="0"/>
              <a:buChar char="•"/>
            </a:pPr>
            <a:r>
              <a:rPr lang="en-US" sz="1200" kern="1200" dirty="0">
                <a:solidFill>
                  <a:schemeClr val="tx1"/>
                </a:solidFill>
                <a:effectLst/>
                <a:latin typeface="+mn-lt"/>
                <a:ea typeface="+mn-ea"/>
                <a:cs typeface="+mn-cs"/>
              </a:rPr>
              <a:t>Step #1 of the workshop is for teams agree on the problem to solve. </a:t>
            </a:r>
          </a:p>
          <a:p>
            <a:pPr marL="628650" lvl="1" indent="-171450">
              <a:buFont typeface="Arial" charset="0"/>
              <a:buChar char="•"/>
            </a:pPr>
            <a:r>
              <a:rPr lang="en-US" sz="1200" kern="1200" dirty="0">
                <a:solidFill>
                  <a:schemeClr val="tx1"/>
                </a:solidFill>
                <a:effectLst/>
                <a:latin typeface="+mn-lt"/>
                <a:ea typeface="+mn-ea"/>
                <a:cs typeface="+mn-cs"/>
              </a:rPr>
              <a:t>Step #2 is they apply root cause analysis. </a:t>
            </a:r>
          </a:p>
          <a:p>
            <a:pPr marL="628650" lvl="1" indent="-171450">
              <a:buFont typeface="Arial" charset="0"/>
              <a:buChar char="•"/>
            </a:pPr>
            <a:r>
              <a:rPr lang="en-US" sz="1200" kern="1200" dirty="0">
                <a:solidFill>
                  <a:schemeClr val="tx1"/>
                </a:solidFill>
                <a:effectLst/>
                <a:latin typeface="+mn-lt"/>
                <a:ea typeface="+mn-ea"/>
                <a:cs typeface="+mn-cs"/>
              </a:rPr>
              <a:t>Step #3 is they identify the biggest root cause using Pareto Analysis. </a:t>
            </a:r>
          </a:p>
          <a:p>
            <a:pPr marL="628650" lvl="1" indent="-171450">
              <a:buFont typeface="Arial" charset="0"/>
              <a:buChar char="•"/>
            </a:pPr>
            <a:r>
              <a:rPr lang="en-US" sz="1200" kern="1200" dirty="0">
                <a:solidFill>
                  <a:schemeClr val="tx1"/>
                </a:solidFill>
                <a:effectLst/>
                <a:latin typeface="+mn-lt"/>
                <a:ea typeface="+mn-ea"/>
                <a:cs typeface="+mn-cs"/>
              </a:rPr>
              <a:t>Step #4: Restate that root cause. </a:t>
            </a:r>
          </a:p>
          <a:p>
            <a:pPr marL="628650" lvl="1" indent="-171450">
              <a:buFont typeface="Arial" charset="0"/>
              <a:buChar char="•"/>
            </a:pPr>
            <a:r>
              <a:rPr lang="en-US" sz="1200" kern="1200" dirty="0">
                <a:solidFill>
                  <a:schemeClr val="tx1"/>
                </a:solidFill>
                <a:effectLst/>
                <a:latin typeface="+mn-lt"/>
                <a:ea typeface="+mn-ea"/>
                <a:cs typeface="+mn-cs"/>
              </a:rPr>
              <a:t>Step #5: If you're really close now, you can move directly to solutions.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But the most important step is: </a:t>
            </a:r>
          </a:p>
          <a:p>
            <a:pPr marL="628650" lvl="1" indent="-171450">
              <a:buFont typeface="Arial" charset="0"/>
              <a:buChar char="•"/>
            </a:pPr>
            <a:r>
              <a:rPr lang="en-US" sz="1200" kern="1200" dirty="0">
                <a:solidFill>
                  <a:schemeClr val="tx1"/>
                </a:solidFill>
                <a:effectLst/>
                <a:latin typeface="+mn-lt"/>
                <a:ea typeface="+mn-ea"/>
                <a:cs typeface="+mn-cs"/>
              </a:rPr>
              <a:t>Step #6, where they create backlog items and improvement stories to take into PI Planning. That way they can implement those improvements and see the benefits in velocity and productivity that those improvements help them achieve.</a:t>
            </a:r>
          </a:p>
          <a:p>
            <a:endParaRPr lang="en-US" dirty="0"/>
          </a:p>
        </p:txBody>
      </p:sp>
      <p:sp>
        <p:nvSpPr>
          <p:cNvPr id="4" name="Slide Number Placeholder 3"/>
          <p:cNvSpPr>
            <a:spLocks noGrp="1"/>
          </p:cNvSpPr>
          <p:nvPr>
            <p:ph type="sldNum" sz="quarter" idx="10"/>
          </p:nvPr>
        </p:nvSpPr>
        <p:spPr/>
        <p:txBody>
          <a:bodyPr/>
          <a:lstStyle/>
          <a:p>
            <a:fld id="{F0EB2F42-7EB3-426A-AE0F-BE645EFDC311}"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18813605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One of the results, especially as we build systems that are larger and more complex, is that our retrospectives are still troublesome. And that means our results are still troublesome.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Sometimes they look like this: [read through some of the sticky notes on the slides]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net result is that when we don't deliver large systems on time and on schedule with the requisite quality, we have poor morale. And what do you think the impact is of poor morale on the development environment?</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It makes everything worse.</a:t>
            </a:r>
          </a:p>
          <a:p>
            <a:endParaRPr lang="en-US" dirty="0"/>
          </a:p>
        </p:txBody>
      </p:sp>
      <p:sp>
        <p:nvSpPr>
          <p:cNvPr id="4" name="Slide Number Placeholder 3"/>
          <p:cNvSpPr>
            <a:spLocks noGrp="1"/>
          </p:cNvSpPr>
          <p:nvPr>
            <p:ph type="sldNum" sz="quarter" idx="10"/>
          </p:nvPr>
        </p:nvSpPr>
        <p:spPr/>
        <p:txBody>
          <a:bodyPr/>
          <a:lstStyle/>
          <a:p>
            <a:fld id="{F0EB2F42-7EB3-426A-AE0F-BE645EFDC311}" type="slidenum">
              <a:rPr lang="en-US" smtClean="0"/>
              <a:pPr/>
              <a:t>4</a:t>
            </a:fld>
            <a:endParaRPr lang="en-US" dirty="0"/>
          </a:p>
        </p:txBody>
      </p:sp>
    </p:spTree>
    <p:extLst>
      <p:ext uri="{BB962C8B-B14F-4D97-AF65-F5344CB8AC3E}">
        <p14:creationId xmlns:p14="http://schemas.microsoft.com/office/powerpoint/2010/main" val="134667862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 typeface="Arial" charset="0"/>
              <a:buNone/>
              <a:tabLst/>
              <a:defRPr/>
            </a:pPr>
            <a:r>
              <a:rPr lang="en-US" dirty="0">
                <a:effectLst/>
              </a:rPr>
              <a:t>The Portfolio SAFe configuration</a:t>
            </a:r>
            <a:r>
              <a:rPr lang="en-US" baseline="0" dirty="0">
                <a:effectLst/>
              </a:rPr>
              <a:t> is for enterprises that build multiple solutions which have minimal dependencies on one another, but require Portfolio-level coordination, strategy, investment, and governance. </a:t>
            </a:r>
          </a:p>
          <a:p>
            <a:pPr marL="0" marR="0" indent="0" algn="l" defTabSz="914400" rtl="0" eaLnBrk="1" fontAlgn="auto" latinLnBrk="0" hangingPunct="1">
              <a:lnSpc>
                <a:spcPct val="100000"/>
              </a:lnSpc>
              <a:spcBef>
                <a:spcPts val="0"/>
              </a:spcBef>
              <a:spcAft>
                <a:spcPts val="0"/>
              </a:spcAft>
              <a:buClrTx/>
              <a:buSzTx/>
              <a:buFont typeface="Arial" charset="0"/>
              <a:buNone/>
              <a:tabLst/>
              <a:defRPr/>
            </a:pPr>
            <a:endParaRPr lang="en-US" baseline="0" dirty="0">
              <a:effectLst/>
            </a:endParaRPr>
          </a:p>
          <a:p>
            <a:pPr marL="0" marR="0" indent="0" algn="l" defTabSz="914400" rtl="0" eaLnBrk="1" fontAlgn="auto" latinLnBrk="0" hangingPunct="1">
              <a:lnSpc>
                <a:spcPct val="100000"/>
              </a:lnSpc>
              <a:spcBef>
                <a:spcPts val="0"/>
              </a:spcBef>
              <a:spcAft>
                <a:spcPts val="0"/>
              </a:spcAft>
              <a:buClrTx/>
              <a:buSzTx/>
              <a:buFont typeface="Arial" charset="0"/>
              <a:buNone/>
              <a:tabLst/>
              <a:defRPr/>
            </a:pPr>
            <a:r>
              <a:rPr lang="en-US" baseline="0" dirty="0">
                <a:effectLst/>
              </a:rPr>
              <a:t>At a Glance </a:t>
            </a:r>
          </a:p>
          <a:p>
            <a:pPr marL="0" marR="0" indent="0" algn="l" defTabSz="914400" rtl="0" eaLnBrk="1" fontAlgn="auto" latinLnBrk="0" hangingPunct="1">
              <a:lnSpc>
                <a:spcPct val="100000"/>
              </a:lnSpc>
              <a:spcBef>
                <a:spcPts val="0"/>
              </a:spcBef>
              <a:spcAft>
                <a:spcPts val="0"/>
              </a:spcAft>
              <a:buClrTx/>
              <a:buSzTx/>
              <a:buFont typeface="Arial" charset="0"/>
              <a:buNone/>
              <a:tabLst/>
              <a:defRPr/>
            </a:pPr>
            <a:endParaRPr lang="en-US" dirty="0">
              <a:effectLst/>
            </a:endParaRPr>
          </a:p>
          <a:p>
            <a:pPr marL="171450" marR="0" indent="-171450" algn="l" defTabSz="914400" rtl="0" eaLnBrk="1" fontAlgn="auto" latinLnBrk="0" hangingPunct="1">
              <a:lnSpc>
                <a:spcPct val="100000"/>
              </a:lnSpc>
              <a:spcBef>
                <a:spcPts val="0"/>
              </a:spcBef>
              <a:spcAft>
                <a:spcPts val="0"/>
              </a:spcAft>
              <a:buClrTx/>
              <a:buSzTx/>
              <a:buFont typeface="Arial" charset="0"/>
              <a:buChar char="•"/>
              <a:tabLst/>
              <a:defRPr/>
            </a:pPr>
            <a:r>
              <a:rPr lang="en-US" sz="1200" dirty="0"/>
              <a:t>Organized around the flow of value</a:t>
            </a:r>
          </a:p>
          <a:p>
            <a:pPr marL="171450" indent="-171450">
              <a:spcBef>
                <a:spcPts val="600"/>
              </a:spcBef>
              <a:spcAft>
                <a:spcPts val="600"/>
              </a:spcAft>
              <a:buFont typeface="Arial" charset="0"/>
              <a:buChar char="•"/>
            </a:pPr>
            <a:r>
              <a:rPr lang="en-US" sz="1200" dirty="0"/>
              <a:t>Lean-Agile budgeting empowers decision makers</a:t>
            </a:r>
          </a:p>
          <a:p>
            <a:pPr marL="171450" indent="-171450">
              <a:spcBef>
                <a:spcPts val="600"/>
              </a:spcBef>
              <a:spcAft>
                <a:spcPts val="600"/>
              </a:spcAft>
              <a:buFont typeface="Arial" charset="0"/>
              <a:buChar char="•"/>
            </a:pPr>
            <a:r>
              <a:rPr lang="en-US" sz="1200" dirty="0"/>
              <a:t>Kanban system provides portfolio visibility and WIP limits</a:t>
            </a:r>
          </a:p>
          <a:p>
            <a:pPr marL="171450" indent="-171450">
              <a:spcBef>
                <a:spcPts val="600"/>
              </a:spcBef>
              <a:spcAft>
                <a:spcPts val="600"/>
              </a:spcAft>
              <a:buFont typeface="Arial" charset="0"/>
              <a:buChar char="•"/>
            </a:pPr>
            <a:r>
              <a:rPr lang="en-US" sz="1200" dirty="0"/>
              <a:t>Enterprise architecture guides larger technology decisions</a:t>
            </a:r>
          </a:p>
          <a:p>
            <a:pPr marL="171450" indent="-171450">
              <a:spcBef>
                <a:spcPts val="600"/>
              </a:spcBef>
              <a:spcAft>
                <a:spcPts val="600"/>
              </a:spcAft>
              <a:buFont typeface="Arial" charset="0"/>
              <a:buChar char="•"/>
            </a:pPr>
            <a:r>
              <a:rPr lang="en-US" sz="1200" dirty="0"/>
              <a:t>Objective metrics support governance and improvement</a:t>
            </a:r>
          </a:p>
          <a:p>
            <a:pPr marL="171450" indent="-171450">
              <a:spcBef>
                <a:spcPts val="600"/>
              </a:spcBef>
              <a:spcAft>
                <a:spcPts val="600"/>
              </a:spcAft>
              <a:buFont typeface="Arial" charset="0"/>
              <a:buChar char="•"/>
            </a:pPr>
            <a:r>
              <a:rPr lang="en-US" sz="1200" dirty="0"/>
              <a:t>Value delivery via Epics </a:t>
            </a:r>
          </a:p>
          <a:p>
            <a:pPr marL="171450" indent="-171450">
              <a:buFont typeface="Arial" charset="0"/>
              <a:buChar char="•"/>
            </a:pPr>
            <a:endParaRPr lang="en-US" dirty="0"/>
          </a:p>
          <a:p>
            <a:pPr marL="0" indent="0">
              <a:buFont typeface="Arial" charset="0"/>
              <a:buNone/>
            </a:pPr>
            <a:r>
              <a:rPr lang="en-US" dirty="0"/>
              <a:t>Learn more about the Portfolio SAFe configuration at: </a:t>
            </a:r>
            <a:r>
              <a:rPr lang="en-US" b="1" dirty="0"/>
              <a:t>http://</a:t>
            </a:r>
            <a:r>
              <a:rPr lang="en-US" b="1" dirty="0" err="1"/>
              <a:t>www.scaledagileframework.com</a:t>
            </a:r>
            <a:r>
              <a:rPr lang="en-US" b="1" dirty="0"/>
              <a:t>/portfolio-level</a:t>
            </a:r>
            <a:r>
              <a:rPr lang="en-US" dirty="0"/>
              <a:t>.</a:t>
            </a:r>
          </a:p>
          <a:p>
            <a:pPr marL="171450" indent="-171450">
              <a:buFont typeface="Arial" charset="0"/>
              <a:buChar char="•"/>
            </a:pPr>
            <a:endParaRPr lang="en-US" dirty="0"/>
          </a:p>
        </p:txBody>
      </p:sp>
    </p:spTree>
    <p:extLst>
      <p:ext uri="{BB962C8B-B14F-4D97-AF65-F5344CB8AC3E}">
        <p14:creationId xmlns:p14="http://schemas.microsoft.com/office/powerpoint/2010/main" val="126827101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1413" y="457200"/>
            <a:ext cx="4572000" cy="2571750"/>
          </a:xfrm>
        </p:spPr>
      </p:sp>
      <p:sp>
        <p:nvSpPr>
          <p:cNvPr id="3" name="Notes Placeholder 2"/>
          <p:cNvSpPr>
            <a:spLocks noGrp="1"/>
          </p:cNvSpPr>
          <p:nvPr>
            <p:ph type="body" idx="1"/>
          </p:nvPr>
        </p:nvSpPr>
        <p:spPr/>
        <p:txBody>
          <a:bodyPr/>
          <a:lstStyle/>
          <a:p>
            <a:pPr marL="0" marR="0" lvl="0" indent="0" algn="l" defTabSz="914303" rtl="0" eaLnBrk="1" fontAlgn="auto" latinLnBrk="0" hangingPunct="1">
              <a:lnSpc>
                <a:spcPct val="100000"/>
              </a:lnSpc>
              <a:spcBef>
                <a:spcPts val="0"/>
              </a:spcBef>
              <a:spcAft>
                <a:spcPts val="0"/>
              </a:spcAft>
              <a:buClrTx/>
              <a:buSzTx/>
              <a:buFontTx/>
              <a:buNone/>
              <a:tabLst/>
              <a:defRPr/>
            </a:pPr>
            <a:r>
              <a:rPr lang="en-US" b="1" dirty="0"/>
              <a:t>Trainer Guidance: </a:t>
            </a:r>
          </a:p>
          <a:p>
            <a:pPr marL="171450" indent="-171450" defTabSz="914303">
              <a:spcBef>
                <a:spcPts val="0"/>
              </a:spcBef>
              <a:spcAft>
                <a:spcPts val="0"/>
              </a:spcAft>
              <a:buFont typeface="Arial" panose="020B0604020202020204" pitchFamily="34" charset="0"/>
              <a:buChar char="•"/>
              <a:defRPr/>
            </a:pPr>
            <a:r>
              <a:rPr lang="en-US" b="0" dirty="0"/>
              <a:t>Most enterprises don’t have a clear understanding of strategy</a:t>
            </a:r>
          </a:p>
          <a:p>
            <a:pPr marL="171450" indent="-171450" defTabSz="914303">
              <a:spcBef>
                <a:spcPts val="0"/>
              </a:spcBef>
              <a:spcAft>
                <a:spcPts val="0"/>
              </a:spcAft>
              <a:buFont typeface="Arial" panose="020B0604020202020204" pitchFamily="34" charset="0"/>
              <a:buChar char="•"/>
              <a:defRPr/>
            </a:pPr>
            <a:r>
              <a:rPr lang="en-US" b="0" dirty="0"/>
              <a:t>Lean Portfolio Management aims to create that clarity</a:t>
            </a:r>
          </a:p>
          <a:p>
            <a:endParaRPr lang="en-US" dirty="0"/>
          </a:p>
        </p:txBody>
      </p:sp>
      <p:sp>
        <p:nvSpPr>
          <p:cNvPr id="6" name="Footer Placeholder 5">
            <a:extLst>
              <a:ext uri="{FF2B5EF4-FFF2-40B4-BE49-F238E27FC236}">
                <a16:creationId xmlns:a16="http://schemas.microsoft.com/office/drawing/2014/main" id="{1F5F050D-0DE0-0B42-9FA4-1D3DF52DFCAA}"/>
              </a:ext>
            </a:extLst>
          </p:cNvPr>
          <p:cNvSpPr>
            <a:spLocks noGrp="1"/>
          </p:cNvSpPr>
          <p:nvPr>
            <p:ph type="ftr" sz="quarter" idx="10"/>
          </p:nvPr>
        </p:nvSpPr>
        <p:spPr/>
        <p:txBody>
          <a:bodyPr/>
          <a:lstStyle/>
          <a:p>
            <a:pPr algn="ctr"/>
            <a:r>
              <a:rPr lang="en-US"/>
              <a:t>© Scaled Agile, Inc.</a:t>
            </a:r>
            <a:endParaRPr lang="en-US" dirty="0"/>
          </a:p>
        </p:txBody>
      </p:sp>
      <p:sp>
        <p:nvSpPr>
          <p:cNvPr id="7" name="Slide Number Placeholder 6">
            <a:extLst>
              <a:ext uri="{FF2B5EF4-FFF2-40B4-BE49-F238E27FC236}">
                <a16:creationId xmlns:a16="http://schemas.microsoft.com/office/drawing/2014/main" id="{DD869603-6E2B-E74C-A923-8F59E8D53182}"/>
              </a:ext>
            </a:extLst>
          </p:cNvPr>
          <p:cNvSpPr>
            <a:spLocks noGrp="1"/>
          </p:cNvSpPr>
          <p:nvPr>
            <p:ph type="sldNum" sz="quarter" idx="11"/>
          </p:nvPr>
        </p:nvSpPr>
        <p:spPr/>
        <p:txBody>
          <a:bodyPr/>
          <a:lstStyle/>
          <a:p>
            <a:r>
              <a:rPr lang="en-US"/>
              <a:t>8-</a:t>
            </a:r>
            <a:fld id="{F0EB2F42-7EB3-426A-AE0F-BE645EFDC311}" type="slidenum">
              <a:rPr lang="en-US" smtClean="0"/>
              <a:pPr/>
              <a:t>24</a:t>
            </a:fld>
            <a:endParaRPr lang="en-US" dirty="0"/>
          </a:p>
        </p:txBody>
      </p:sp>
    </p:spTree>
    <p:extLst>
      <p:ext uri="{BB962C8B-B14F-4D97-AF65-F5344CB8AC3E}">
        <p14:creationId xmlns:p14="http://schemas.microsoft.com/office/powerpoint/2010/main" val="193584118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1413" y="457200"/>
            <a:ext cx="4572000" cy="2571750"/>
          </a:xfrm>
        </p:spPr>
      </p:sp>
      <p:sp>
        <p:nvSpPr>
          <p:cNvPr id="3" name="Notes Placeholder 2"/>
          <p:cNvSpPr>
            <a:spLocks noGrp="1"/>
          </p:cNvSpPr>
          <p:nvPr>
            <p:ph type="body" idx="1"/>
          </p:nvPr>
        </p:nvSpPr>
        <p:spPr>
          <a:xfrm>
            <a:off x="685005" y="3108960"/>
            <a:ext cx="5486400" cy="5023925"/>
          </a:xfrm>
        </p:spPr>
        <p:txBody>
          <a:bodyPr>
            <a:normAutofit/>
          </a:bodyPr>
          <a:lstStyle/>
          <a:p>
            <a:pPr defTabSz="914303">
              <a:spcBef>
                <a:spcPts val="0"/>
              </a:spcBef>
              <a:defRPr/>
            </a:pPr>
            <a:r>
              <a:rPr lang="en-US" b="1" dirty="0"/>
              <a:t>Trainer Guidance: </a:t>
            </a:r>
          </a:p>
          <a:p>
            <a:pPr marL="171450" indent="-171450">
              <a:buFont typeface="Arial" charset="0"/>
              <a:buChar char="•"/>
            </a:pPr>
            <a:r>
              <a:rPr lang="en-US" kern="1200" dirty="0">
                <a:solidFill>
                  <a:schemeClr val="tx1"/>
                </a:solidFill>
                <a:effectLst/>
                <a:latin typeface="+mn-lt"/>
                <a:ea typeface="+mn-ea"/>
                <a:cs typeface="+mn-cs"/>
              </a:rPr>
              <a:t>The Lean Portfolio Management (LPM) function has the highest level of decision-making and financial accountability for the products and Solutions in a </a:t>
            </a:r>
            <a:r>
              <a:rPr lang="en-US" kern="1200" dirty="0" err="1">
                <a:solidFill>
                  <a:schemeClr val="tx1"/>
                </a:solidFill>
                <a:effectLst/>
                <a:latin typeface="+mn-lt"/>
                <a:ea typeface="+mn-ea"/>
                <a:cs typeface="+mn-cs"/>
              </a:rPr>
              <a:t>SAFe</a:t>
            </a:r>
            <a:r>
              <a:rPr lang="en-US" kern="1200" dirty="0">
                <a:solidFill>
                  <a:schemeClr val="tx1"/>
                </a:solidFill>
                <a:effectLst/>
                <a:latin typeface="+mn-lt"/>
                <a:ea typeface="+mn-ea"/>
                <a:cs typeface="+mn-cs"/>
              </a:rPr>
              <a:t> portfolio. </a:t>
            </a:r>
          </a:p>
          <a:p>
            <a:pPr marL="171450" indent="-171450">
              <a:buFont typeface="Arial" charset="0"/>
              <a:buChar char="•"/>
            </a:pPr>
            <a:r>
              <a:rPr lang="en-US" kern="1200" dirty="0">
                <a:solidFill>
                  <a:schemeClr val="tx1"/>
                </a:solidFill>
                <a:effectLst/>
                <a:latin typeface="+mn-lt"/>
                <a:ea typeface="+mn-ea"/>
                <a:cs typeface="+mn-cs"/>
              </a:rPr>
              <a:t>An effective LPM function is necessary for </a:t>
            </a:r>
            <a:r>
              <a:rPr lang="en-US" kern="1200" dirty="0" err="1">
                <a:solidFill>
                  <a:schemeClr val="tx1"/>
                </a:solidFill>
                <a:effectLst/>
                <a:latin typeface="+mn-lt"/>
                <a:ea typeface="+mn-ea"/>
                <a:cs typeface="+mn-cs"/>
              </a:rPr>
              <a:t>SAFe</a:t>
            </a:r>
            <a:r>
              <a:rPr lang="en-US" kern="1200" dirty="0">
                <a:solidFill>
                  <a:schemeClr val="tx1"/>
                </a:solidFill>
                <a:effectLst/>
                <a:latin typeface="+mn-lt"/>
                <a:ea typeface="+mn-ea"/>
                <a:cs typeface="+mn-cs"/>
              </a:rPr>
              <a:t> success, but it is typically a function, not an organization. The people who fulfill these responsibilities may have various titles and roles. But this function usually includes the business managers and executives who understand the Enterprise’s financial position and are ultimately responsible for portfolio strategy, operations, and execution. </a:t>
            </a:r>
          </a:p>
          <a:p>
            <a:pPr marL="0" marR="0" indent="0" algn="l" defTabSz="914400" rtl="0" eaLnBrk="1" fontAlgn="auto" latinLnBrk="0" hangingPunct="1">
              <a:lnSpc>
                <a:spcPct val="100000"/>
              </a:lnSpc>
              <a:spcBef>
                <a:spcPts val="0"/>
              </a:spcBef>
              <a:buClrTx/>
              <a:buSzTx/>
              <a:buFont typeface="Arial" charset="0"/>
              <a:buNone/>
              <a:tabLst/>
              <a:defRPr/>
            </a:pPr>
            <a:endParaRPr lang="en-US" b="1" dirty="0"/>
          </a:p>
          <a:p>
            <a:pPr marL="0" marR="0" indent="0" algn="l" defTabSz="914400" rtl="0" eaLnBrk="1" fontAlgn="auto" latinLnBrk="0" hangingPunct="1">
              <a:lnSpc>
                <a:spcPct val="100000"/>
              </a:lnSpc>
              <a:spcBef>
                <a:spcPts val="0"/>
              </a:spcBef>
              <a:buClrTx/>
              <a:buSzTx/>
              <a:buFont typeface="Arial" charset="0"/>
              <a:buNone/>
              <a:tabLst/>
              <a:defRPr/>
            </a:pPr>
            <a:r>
              <a:rPr lang="en-US" b="1" dirty="0"/>
              <a:t>Key Message:</a:t>
            </a:r>
            <a:r>
              <a:rPr lang="en-US" dirty="0"/>
              <a:t> </a:t>
            </a:r>
            <a:endParaRPr lang="en-US" kern="1200" dirty="0">
              <a:solidFill>
                <a:schemeClr val="tx1"/>
              </a:solidFill>
              <a:effectLst/>
              <a:latin typeface="+mn-lt"/>
              <a:ea typeface="+mn-ea"/>
              <a:cs typeface="+mn-cs"/>
            </a:endParaRPr>
          </a:p>
          <a:p>
            <a:pPr marL="171450" indent="-171450">
              <a:buFont typeface="Arial" charset="0"/>
              <a:buChar char="•"/>
            </a:pPr>
            <a:r>
              <a:rPr lang="en-US" kern="1200" dirty="0">
                <a:solidFill>
                  <a:schemeClr val="tx1"/>
                </a:solidFill>
                <a:effectLst/>
                <a:latin typeface="+mn-lt"/>
                <a:ea typeface="+mn-ea"/>
                <a:cs typeface="+mn-cs"/>
              </a:rPr>
              <a:t>Note: LPM is significantly different than traditional portfolio management. In many cases, an existing legacy mindset—with annual planning and budgeting cycles and traditional measures of progress—severely inhibits the enterprise’s transition to agility. </a:t>
            </a:r>
          </a:p>
          <a:p>
            <a:pPr marL="171450" indent="-171450">
              <a:buFont typeface="Arial" charset="0"/>
              <a:buChar char="•"/>
            </a:pPr>
            <a:r>
              <a:rPr lang="en-US" kern="1200" dirty="0">
                <a:solidFill>
                  <a:schemeClr val="tx1"/>
                </a:solidFill>
                <a:effectLst/>
                <a:latin typeface="+mn-lt"/>
                <a:ea typeface="+mn-ea"/>
                <a:cs typeface="+mn-cs"/>
              </a:rPr>
              <a:t>In response, SAFe recommends seven transformational patterns to move the organization to the leaner, more effective approach described in the article Extend to the Portfolio. With this context in mind, we can move on to describing Lean portfolio management. </a:t>
            </a:r>
          </a:p>
          <a:p>
            <a:pPr marL="171450" indent="-171450">
              <a:buFont typeface="Arial" charset="0"/>
              <a:buChar char="•"/>
            </a:pPr>
            <a:r>
              <a:rPr lang="en-US" kern="1200" dirty="0">
                <a:solidFill>
                  <a:schemeClr val="tx1"/>
                </a:solidFill>
                <a:effectLst/>
                <a:latin typeface="+mn-lt"/>
                <a:ea typeface="+mn-ea"/>
                <a:cs typeface="+mn-cs"/>
              </a:rPr>
              <a:t>Read more at: </a:t>
            </a:r>
            <a:r>
              <a:rPr lang="en-US" b="1" kern="1200" dirty="0">
                <a:solidFill>
                  <a:schemeClr val="tx1"/>
                </a:solidFill>
                <a:effectLst/>
                <a:latin typeface="+mn-lt"/>
                <a:ea typeface="+mn-ea"/>
                <a:cs typeface="+mn-cs"/>
              </a:rPr>
              <a:t>http://</a:t>
            </a:r>
            <a:r>
              <a:rPr lang="en-US" b="1" kern="1200" dirty="0" err="1">
                <a:solidFill>
                  <a:schemeClr val="tx1"/>
                </a:solidFill>
                <a:effectLst/>
                <a:latin typeface="+mn-lt"/>
                <a:ea typeface="+mn-ea"/>
                <a:cs typeface="+mn-cs"/>
              </a:rPr>
              <a:t>www.scaledagileframework.com</a:t>
            </a:r>
            <a:r>
              <a:rPr lang="en-US" b="1" kern="1200" dirty="0">
                <a:solidFill>
                  <a:schemeClr val="tx1"/>
                </a:solidFill>
                <a:effectLst/>
                <a:latin typeface="+mn-lt"/>
                <a:ea typeface="+mn-ea"/>
                <a:cs typeface="+mn-cs"/>
              </a:rPr>
              <a:t>/lean-portfolio-management</a:t>
            </a:r>
            <a:r>
              <a:rPr lang="en-US" b="0" kern="1200" dirty="0">
                <a:solidFill>
                  <a:schemeClr val="tx1"/>
                </a:solidFill>
                <a:effectLst/>
                <a:latin typeface="+mn-lt"/>
                <a:ea typeface="+mn-ea"/>
                <a:cs typeface="+mn-cs"/>
              </a:rPr>
              <a:t>.</a:t>
            </a:r>
            <a:endParaRPr lang="en-US" kern="1200" dirty="0">
              <a:solidFill>
                <a:schemeClr val="tx1"/>
              </a:solidFill>
              <a:effectLst/>
              <a:latin typeface="+mn-lt"/>
              <a:ea typeface="+mn-ea"/>
              <a:cs typeface="+mn-cs"/>
            </a:endParaRPr>
          </a:p>
        </p:txBody>
      </p:sp>
      <p:sp>
        <p:nvSpPr>
          <p:cNvPr id="6" name="Footer Placeholder 5">
            <a:extLst>
              <a:ext uri="{FF2B5EF4-FFF2-40B4-BE49-F238E27FC236}">
                <a16:creationId xmlns:a16="http://schemas.microsoft.com/office/drawing/2014/main" id="{5741493C-B3A3-DF44-93D4-5D5C5DD98662}"/>
              </a:ext>
            </a:extLst>
          </p:cNvPr>
          <p:cNvSpPr>
            <a:spLocks noGrp="1"/>
          </p:cNvSpPr>
          <p:nvPr>
            <p:ph type="ftr" sz="quarter" idx="10"/>
          </p:nvPr>
        </p:nvSpPr>
        <p:spPr/>
        <p:txBody>
          <a:bodyPr/>
          <a:lstStyle/>
          <a:p>
            <a:pPr algn="ctr"/>
            <a:r>
              <a:rPr lang="en-US"/>
              <a:t>© Scaled Agile, Inc.</a:t>
            </a:r>
            <a:endParaRPr lang="en-US" dirty="0"/>
          </a:p>
        </p:txBody>
      </p:sp>
      <p:sp>
        <p:nvSpPr>
          <p:cNvPr id="7" name="Slide Number Placeholder 6">
            <a:extLst>
              <a:ext uri="{FF2B5EF4-FFF2-40B4-BE49-F238E27FC236}">
                <a16:creationId xmlns:a16="http://schemas.microsoft.com/office/drawing/2014/main" id="{8DB5B288-6DA1-C641-AE57-1E6BC714F6AF}"/>
              </a:ext>
            </a:extLst>
          </p:cNvPr>
          <p:cNvSpPr>
            <a:spLocks noGrp="1"/>
          </p:cNvSpPr>
          <p:nvPr>
            <p:ph type="sldNum" sz="quarter" idx="11"/>
          </p:nvPr>
        </p:nvSpPr>
        <p:spPr/>
        <p:txBody>
          <a:bodyPr/>
          <a:lstStyle/>
          <a:p>
            <a:r>
              <a:rPr lang="en-US"/>
              <a:t>8-</a:t>
            </a:r>
            <a:fld id="{F0EB2F42-7EB3-426A-AE0F-BE645EFDC311}" type="slidenum">
              <a:rPr lang="en-US" smtClean="0"/>
              <a:pPr/>
              <a:t>25</a:t>
            </a:fld>
            <a:endParaRPr lang="en-US" dirty="0"/>
          </a:p>
        </p:txBody>
      </p:sp>
    </p:spTree>
    <p:extLst>
      <p:ext uri="{BB962C8B-B14F-4D97-AF65-F5344CB8AC3E}">
        <p14:creationId xmlns:p14="http://schemas.microsoft.com/office/powerpoint/2010/main" val="413219723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47750" y="457200"/>
            <a:ext cx="4572000" cy="2571750"/>
          </a:xfrm>
        </p:spPr>
      </p:sp>
      <p:sp>
        <p:nvSpPr>
          <p:cNvPr id="3" name="Notes Placeholder 2"/>
          <p:cNvSpPr>
            <a:spLocks noGrp="1"/>
          </p:cNvSpPr>
          <p:nvPr>
            <p:ph type="body" idx="1"/>
          </p:nvPr>
        </p:nvSpPr>
        <p:spPr/>
        <p:txBody>
          <a:bodyPr>
            <a:normAutofit/>
          </a:bodyPr>
          <a:lstStyle/>
          <a:p>
            <a:pPr defTabSz="914303">
              <a:spcBef>
                <a:spcPts val="0"/>
              </a:spcBef>
              <a:defRPr/>
            </a:pPr>
            <a:r>
              <a:rPr lang="en-US" b="1" dirty="0"/>
              <a:t>Trainer Guidance: </a:t>
            </a:r>
          </a:p>
          <a:p>
            <a:pPr marL="171450" indent="-171450">
              <a:spcBef>
                <a:spcPts val="600"/>
              </a:spcBef>
              <a:buFont typeface="Arial" charset="0"/>
              <a:buChar char="•"/>
            </a:pPr>
            <a:r>
              <a:rPr lang="en-US" dirty="0"/>
              <a:t>The Large Solution SAFe configuration is intended for enterprises that are building large and complex solutions that require the contribution of multiple Agile Release Trains and Suppliers, but do not require the portfolio considerations. </a:t>
            </a:r>
          </a:p>
          <a:p>
            <a:pPr marL="171450" indent="-171450">
              <a:spcBef>
                <a:spcPts val="600"/>
              </a:spcBef>
              <a:buFont typeface="Arial" charset="0"/>
              <a:buChar char="•"/>
            </a:pPr>
            <a:r>
              <a:rPr lang="en-US" dirty="0"/>
              <a:t>This is common for industries like Aerospace and Defense, and Government, where they have very large programs, but do not need the constructs of the Portfolio level.</a:t>
            </a:r>
          </a:p>
          <a:p>
            <a:pPr>
              <a:spcBef>
                <a:spcPts val="0"/>
              </a:spcBef>
            </a:pPr>
            <a:endParaRPr lang="en-US" b="1" dirty="0"/>
          </a:p>
          <a:p>
            <a:pPr>
              <a:spcBef>
                <a:spcPts val="0"/>
              </a:spcBef>
            </a:pPr>
            <a:r>
              <a:rPr lang="en-US" b="1" dirty="0"/>
              <a:t>Key Message:</a:t>
            </a:r>
            <a:r>
              <a:rPr lang="en-US" dirty="0"/>
              <a:t> </a:t>
            </a:r>
          </a:p>
          <a:p>
            <a:pPr marL="171450" indent="-171450">
              <a:lnSpc>
                <a:spcPct val="110000"/>
              </a:lnSpc>
              <a:buFont typeface="Arial" charset="0"/>
              <a:buChar char="•"/>
            </a:pPr>
            <a:r>
              <a:rPr lang="en-US" dirty="0"/>
              <a:t>Coordinates development of large Solutions.</a:t>
            </a:r>
          </a:p>
          <a:p>
            <a:pPr marL="171450" indent="-171450">
              <a:lnSpc>
                <a:spcPct val="110000"/>
              </a:lnSpc>
              <a:buFont typeface="Arial" charset="0"/>
              <a:buChar char="•"/>
            </a:pPr>
            <a:r>
              <a:rPr lang="en-US" dirty="0"/>
              <a:t>Synchronizes multiple ART Value Streams.</a:t>
            </a:r>
          </a:p>
          <a:p>
            <a:pPr marL="171450" indent="-171450">
              <a:lnSpc>
                <a:spcPct val="110000"/>
              </a:lnSpc>
              <a:buFont typeface="Arial" charset="0"/>
              <a:buChar char="•"/>
            </a:pPr>
            <a:r>
              <a:rPr lang="en-US" dirty="0"/>
              <a:t>Manages Solution Intent.</a:t>
            </a:r>
          </a:p>
          <a:p>
            <a:pPr marL="171450" indent="-171450">
              <a:lnSpc>
                <a:spcPct val="110000"/>
              </a:lnSpc>
              <a:buFont typeface="Arial" charset="0"/>
              <a:buChar char="•"/>
            </a:pPr>
            <a:r>
              <a:rPr lang="en-US" dirty="0"/>
              <a:t>Integrates suppliers as partners.</a:t>
            </a:r>
          </a:p>
          <a:p>
            <a:pPr marL="171450" indent="-171450">
              <a:lnSpc>
                <a:spcPct val="110000"/>
              </a:lnSpc>
              <a:buFont typeface="Arial" charset="0"/>
              <a:buChar char="•"/>
            </a:pPr>
            <a:r>
              <a:rPr lang="en-US" dirty="0"/>
              <a:t>Value delivery via Capabilities.</a:t>
            </a:r>
          </a:p>
          <a:p>
            <a:pPr marL="171450" indent="-171450">
              <a:lnSpc>
                <a:spcPct val="110000"/>
              </a:lnSpc>
              <a:buFont typeface="Arial" charset="0"/>
              <a:buChar char="•"/>
            </a:pPr>
            <a:endParaRPr lang="en-US" dirty="0"/>
          </a:p>
          <a:p>
            <a:pPr marL="0" indent="0">
              <a:lnSpc>
                <a:spcPct val="110000"/>
              </a:lnSpc>
              <a:buFont typeface="Arial" charset="0"/>
              <a:buNone/>
            </a:pPr>
            <a:r>
              <a:rPr lang="en-US" dirty="0"/>
              <a:t>Learn</a:t>
            </a:r>
            <a:r>
              <a:rPr lang="en-US" baseline="0" dirty="0"/>
              <a:t> more about this configuration at </a:t>
            </a:r>
            <a:r>
              <a:rPr lang="en-US" b="1" baseline="0" dirty="0"/>
              <a:t>http://</a:t>
            </a:r>
            <a:r>
              <a:rPr lang="en-US" b="1" baseline="0" dirty="0" err="1"/>
              <a:t>www.scaledagileframework.com</a:t>
            </a:r>
            <a:r>
              <a:rPr lang="en-US" b="1" baseline="0" dirty="0"/>
              <a:t>/large-solution-level</a:t>
            </a:r>
            <a:r>
              <a:rPr lang="en-US" baseline="0" dirty="0"/>
              <a:t>.</a:t>
            </a:r>
            <a:endParaRPr lang="en-US" dirty="0"/>
          </a:p>
        </p:txBody>
      </p:sp>
      <p:sp>
        <p:nvSpPr>
          <p:cNvPr id="6" name="Footer Placeholder 5">
            <a:extLst>
              <a:ext uri="{FF2B5EF4-FFF2-40B4-BE49-F238E27FC236}">
                <a16:creationId xmlns:a16="http://schemas.microsoft.com/office/drawing/2014/main" id="{D3202E00-4057-314D-AB9B-3B0EC255A915}"/>
              </a:ext>
            </a:extLst>
          </p:cNvPr>
          <p:cNvSpPr>
            <a:spLocks noGrp="1"/>
          </p:cNvSpPr>
          <p:nvPr>
            <p:ph type="ftr" sz="quarter" idx="10"/>
          </p:nvPr>
        </p:nvSpPr>
        <p:spPr/>
        <p:txBody>
          <a:bodyPr/>
          <a:lstStyle/>
          <a:p>
            <a:r>
              <a:rPr lang="en-US"/>
              <a:t>© Scaled Agile, Inc.</a:t>
            </a:r>
            <a:endParaRPr lang="en-US" dirty="0"/>
          </a:p>
        </p:txBody>
      </p:sp>
      <p:sp>
        <p:nvSpPr>
          <p:cNvPr id="7" name="Slide Number Placeholder 6">
            <a:extLst>
              <a:ext uri="{FF2B5EF4-FFF2-40B4-BE49-F238E27FC236}">
                <a16:creationId xmlns:a16="http://schemas.microsoft.com/office/drawing/2014/main" id="{364E85CC-2B5B-4C4E-9B04-844992BE40D1}"/>
              </a:ext>
            </a:extLst>
          </p:cNvPr>
          <p:cNvSpPr>
            <a:spLocks noGrp="1"/>
          </p:cNvSpPr>
          <p:nvPr>
            <p:ph type="sldNum" sz="quarter" idx="11"/>
          </p:nvPr>
        </p:nvSpPr>
        <p:spPr/>
        <p:txBody>
          <a:bodyPr/>
          <a:lstStyle/>
          <a:p>
            <a:r>
              <a:rPr lang="en-US"/>
              <a:t>1-</a:t>
            </a:r>
            <a:fld id="{F0EB2F42-7EB3-426A-AE0F-BE645EFDC311}" type="slidenum">
              <a:rPr lang="en-US" smtClean="0"/>
              <a:pPr/>
              <a:t>26</a:t>
            </a:fld>
            <a:endParaRPr lang="en-US" dirty="0"/>
          </a:p>
        </p:txBody>
      </p:sp>
    </p:spTree>
    <p:extLst>
      <p:ext uri="{BB962C8B-B14F-4D97-AF65-F5344CB8AC3E}">
        <p14:creationId xmlns:p14="http://schemas.microsoft.com/office/powerpoint/2010/main" val="97574433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47750" y="457200"/>
            <a:ext cx="4572000" cy="2571750"/>
          </a:xfrm>
        </p:spPr>
      </p:sp>
      <p:sp>
        <p:nvSpPr>
          <p:cNvPr id="3" name="Notes Placeholder 2"/>
          <p:cNvSpPr>
            <a:spLocks noGrp="1"/>
          </p:cNvSpPr>
          <p:nvPr>
            <p:ph type="body" idx="1"/>
          </p:nvPr>
        </p:nvSpPr>
        <p:spPr/>
        <p:txBody>
          <a:bodyPr>
            <a:normAutofit/>
          </a:bodyPr>
          <a:lstStyle/>
          <a:p>
            <a:pPr defTabSz="914303">
              <a:spcBef>
                <a:spcPts val="0"/>
              </a:spcBef>
              <a:defRPr/>
            </a:pPr>
            <a:endParaRPr lang="en-US" dirty="0"/>
          </a:p>
        </p:txBody>
      </p:sp>
      <p:sp>
        <p:nvSpPr>
          <p:cNvPr id="6" name="Footer Placeholder 5">
            <a:extLst>
              <a:ext uri="{FF2B5EF4-FFF2-40B4-BE49-F238E27FC236}">
                <a16:creationId xmlns:a16="http://schemas.microsoft.com/office/drawing/2014/main" id="{D3202E00-4057-314D-AB9B-3B0EC255A915}"/>
              </a:ext>
            </a:extLst>
          </p:cNvPr>
          <p:cNvSpPr>
            <a:spLocks noGrp="1"/>
          </p:cNvSpPr>
          <p:nvPr>
            <p:ph type="ftr" sz="quarter" idx="10"/>
          </p:nvPr>
        </p:nvSpPr>
        <p:spPr/>
        <p:txBody>
          <a:bodyPr/>
          <a:lstStyle/>
          <a:p>
            <a:r>
              <a:rPr lang="en-US"/>
              <a:t>© Scaled Agile, Inc.</a:t>
            </a:r>
            <a:endParaRPr lang="en-US" dirty="0"/>
          </a:p>
        </p:txBody>
      </p:sp>
      <p:sp>
        <p:nvSpPr>
          <p:cNvPr id="7" name="Slide Number Placeholder 6">
            <a:extLst>
              <a:ext uri="{FF2B5EF4-FFF2-40B4-BE49-F238E27FC236}">
                <a16:creationId xmlns:a16="http://schemas.microsoft.com/office/drawing/2014/main" id="{364E85CC-2B5B-4C4E-9B04-844992BE40D1}"/>
              </a:ext>
            </a:extLst>
          </p:cNvPr>
          <p:cNvSpPr>
            <a:spLocks noGrp="1"/>
          </p:cNvSpPr>
          <p:nvPr>
            <p:ph type="sldNum" sz="quarter" idx="11"/>
          </p:nvPr>
        </p:nvSpPr>
        <p:spPr/>
        <p:txBody>
          <a:bodyPr/>
          <a:lstStyle/>
          <a:p>
            <a:r>
              <a:rPr lang="en-US"/>
              <a:t>1-</a:t>
            </a:r>
            <a:fld id="{F0EB2F42-7EB3-426A-AE0F-BE645EFDC311}" type="slidenum">
              <a:rPr lang="en-US" smtClean="0"/>
              <a:pPr/>
              <a:t>27</a:t>
            </a:fld>
            <a:endParaRPr lang="en-US" dirty="0"/>
          </a:p>
        </p:txBody>
      </p:sp>
    </p:spTree>
    <p:extLst>
      <p:ext uri="{BB962C8B-B14F-4D97-AF65-F5344CB8AC3E}">
        <p14:creationId xmlns:p14="http://schemas.microsoft.com/office/powerpoint/2010/main" val="295258467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at's a brief overview of the Framework.</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What is your role? Well, as I mentioned earlier, your role—our role—is to lead that implementation.  Let’s take a look at that.</a:t>
            </a:r>
          </a:p>
        </p:txBody>
      </p:sp>
      <p:sp>
        <p:nvSpPr>
          <p:cNvPr id="4" name="Slide Number Placeholder 3"/>
          <p:cNvSpPr>
            <a:spLocks noGrp="1"/>
          </p:cNvSpPr>
          <p:nvPr>
            <p:ph type="sldNum" sz="quarter" idx="10"/>
          </p:nvPr>
        </p:nvSpPr>
        <p:spPr/>
        <p:txBody>
          <a:bodyPr/>
          <a:lstStyle/>
          <a:p>
            <a:fld id="{F0EB2F42-7EB3-426A-AE0F-BE645EFDC311}" type="slidenum">
              <a:rPr lang="en-US" smtClean="0"/>
              <a:pPr/>
              <a:t>28</a:t>
            </a:fld>
            <a:endParaRPr lang="en-US" dirty="0"/>
          </a:p>
        </p:txBody>
      </p:sp>
    </p:spTree>
    <p:extLst>
      <p:ext uri="{BB962C8B-B14F-4D97-AF65-F5344CB8AC3E}">
        <p14:creationId xmlns:p14="http://schemas.microsoft.com/office/powerpoint/2010/main" val="53859778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Earlier we saw House of Lean and its Leadership foundation. And we talked about the inspiration that Deming has provided us.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I think this is another inspirational Deming quote: "</a:t>
            </a:r>
            <a:r>
              <a:rPr lang="en-US" sz="1200" i="1" kern="1200" dirty="0">
                <a:solidFill>
                  <a:schemeClr val="tx1"/>
                </a:solidFill>
                <a:effectLst/>
                <a:latin typeface="+mn-lt"/>
                <a:ea typeface="+mn-ea"/>
                <a:cs typeface="+mn-cs"/>
              </a:rPr>
              <a:t>People are already doing their best; the problems are with the system. Only management can change the system.”</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What does that tell us? </a:t>
            </a:r>
          </a:p>
          <a:p>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It says that we've hired good people, we've motivated good people. The problems they're encountering in the workplace are systematic [systemic?] problems. They're problems with the system they're working in. And that means that it's up to management to take responsibility for evolving those systems.</a:t>
            </a:r>
          </a:p>
          <a:p>
            <a:r>
              <a:rPr lang="en-US" sz="1200" kern="1200" dirty="0">
                <a:solidFill>
                  <a:schemeClr val="tx1"/>
                </a:solidFill>
                <a:effectLst/>
                <a:latin typeface="+mn-lt"/>
                <a:ea typeface="+mn-ea"/>
                <a:cs typeface="+mn-cs"/>
              </a:rPr>
              <a:t>We need </a:t>
            </a:r>
            <a:r>
              <a:rPr lang="en-US" sz="1200" i="1" kern="1200" dirty="0">
                <a:solidFill>
                  <a:schemeClr val="tx1"/>
                </a:solidFill>
                <a:effectLst/>
                <a:latin typeface="+mn-lt"/>
                <a:ea typeface="+mn-ea"/>
                <a:cs typeface="+mn-cs"/>
              </a:rPr>
              <a:t>you</a:t>
            </a:r>
            <a:r>
              <a:rPr lang="en-US" sz="1200" kern="1200" dirty="0">
                <a:solidFill>
                  <a:schemeClr val="tx1"/>
                </a:solidFill>
                <a:effectLst/>
                <a:latin typeface="+mn-lt"/>
                <a:ea typeface="+mn-ea"/>
                <a:cs typeface="+mn-cs"/>
              </a:rPr>
              <a:t> to lead the change. We need </a:t>
            </a:r>
            <a:r>
              <a:rPr lang="en-US" sz="1200" i="1" kern="1200" dirty="0">
                <a:solidFill>
                  <a:schemeClr val="tx1"/>
                </a:solidFill>
                <a:effectLst/>
                <a:latin typeface="+mn-lt"/>
                <a:ea typeface="+mn-ea"/>
                <a:cs typeface="+mn-cs"/>
              </a:rPr>
              <a:t>you</a:t>
            </a:r>
            <a:r>
              <a:rPr lang="en-US" sz="1200" kern="1200" dirty="0">
                <a:solidFill>
                  <a:schemeClr val="tx1"/>
                </a:solidFill>
                <a:effectLst/>
                <a:latin typeface="+mn-lt"/>
                <a:ea typeface="+mn-ea"/>
                <a:cs typeface="+mn-cs"/>
              </a:rPr>
              <a:t> to lead the implementation. </a:t>
            </a:r>
          </a:p>
          <a:p>
            <a:endParaRPr lang="en-US" dirty="0"/>
          </a:p>
        </p:txBody>
      </p:sp>
      <p:sp>
        <p:nvSpPr>
          <p:cNvPr id="4" name="Slide Number Placeholder 3"/>
          <p:cNvSpPr>
            <a:spLocks noGrp="1"/>
          </p:cNvSpPr>
          <p:nvPr>
            <p:ph type="sldNum" sz="quarter" idx="10"/>
          </p:nvPr>
        </p:nvSpPr>
        <p:spPr/>
        <p:txBody>
          <a:bodyPr/>
          <a:lstStyle/>
          <a:p>
            <a:fld id="{F0EB2F42-7EB3-426A-AE0F-BE645EFDC311}" type="slidenum">
              <a:rPr lang="en-US" smtClean="0"/>
              <a:pPr/>
              <a:t>29</a:t>
            </a:fld>
            <a:endParaRPr lang="en-US" dirty="0"/>
          </a:p>
        </p:txBody>
      </p:sp>
    </p:spTree>
    <p:extLst>
      <p:ext uri="{BB962C8B-B14F-4D97-AF65-F5344CB8AC3E}">
        <p14:creationId xmlns:p14="http://schemas.microsoft.com/office/powerpoint/2010/main" val="314158267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Finally, let's discuss implementation. We'll describe that using our SAFe Implementation</a:t>
            </a:r>
            <a:r>
              <a:rPr lang="en-US" sz="1200" kern="1200" baseline="0" dirty="0">
                <a:solidFill>
                  <a:schemeClr val="tx1"/>
                </a:solidFill>
                <a:effectLst/>
                <a:latin typeface="+mn-lt"/>
                <a:ea typeface="+mn-ea"/>
                <a:cs typeface="+mn-cs"/>
              </a:rPr>
              <a:t> Roadmap. </a:t>
            </a:r>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Roadmap describes</a:t>
            </a:r>
            <a:r>
              <a:rPr lang="en-US" sz="1200" kern="1200" baseline="0" dirty="0">
                <a:solidFill>
                  <a:schemeClr val="tx1"/>
                </a:solidFill>
                <a:effectLst/>
                <a:latin typeface="+mn-lt"/>
                <a:ea typeface="+mn-ea"/>
                <a:cs typeface="+mn-cs"/>
              </a:rPr>
              <a:t> a series of steps, or ‘critical moves,’ an enterprise can take to ensure a reliable and successful SAFe rollout. The steps are designed to be repeatable in order to support lifelong learning and relentless improvement of value delivery. </a:t>
            </a:r>
          </a:p>
          <a:p>
            <a:endParaRPr lang="en-US" sz="1200" kern="1200" baseline="0" dirty="0">
              <a:solidFill>
                <a:schemeClr val="tx1"/>
              </a:solidFill>
              <a:effectLst/>
              <a:latin typeface="+mn-lt"/>
              <a:ea typeface="+mn-ea"/>
              <a:cs typeface="+mn-cs"/>
            </a:endParaRPr>
          </a:p>
          <a:p>
            <a:r>
              <a:rPr lang="en-US" sz="1200" kern="1200" baseline="0" dirty="0">
                <a:solidFill>
                  <a:schemeClr val="tx1"/>
                </a:solidFill>
                <a:effectLst/>
                <a:latin typeface="+mn-lt"/>
                <a:ea typeface="+mn-ea"/>
                <a:cs typeface="+mn-cs"/>
              </a:rPr>
              <a:t>After making the decision to go SAFe, n</a:t>
            </a:r>
            <a:r>
              <a:rPr lang="en-US" sz="1200" kern="1200" dirty="0">
                <a:solidFill>
                  <a:schemeClr val="tx1"/>
                </a:solidFill>
                <a:effectLst/>
                <a:latin typeface="+mn-lt"/>
                <a:ea typeface="+mn-ea"/>
                <a:cs typeface="+mn-cs"/>
              </a:rPr>
              <a:t>umber 1 is to train the Lean-Agile change agents. We call those SAFe Program Consultants.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With a sufficient staff of Lean-Agile change agents onsite, and working with your partners, you'll have the ability to train the executives and leaders and managers—the people responsible for managing the people who deliver value.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y'll then be in a position to support the launch of the Agile Release Trains. And one train at a time, you'll build that Agile portfolio.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Learn more about the</a:t>
            </a:r>
            <a:r>
              <a:rPr lang="en-US" sz="1200" kern="1200" baseline="0" dirty="0">
                <a:solidFill>
                  <a:schemeClr val="tx1"/>
                </a:solidFill>
                <a:effectLst/>
                <a:latin typeface="+mn-lt"/>
                <a:ea typeface="+mn-ea"/>
                <a:cs typeface="+mn-cs"/>
              </a:rPr>
              <a:t> Roadmap at </a:t>
            </a:r>
            <a:r>
              <a:rPr lang="en-US" sz="1200" b="1" kern="1200" baseline="0" dirty="0">
                <a:solidFill>
                  <a:schemeClr val="tx1"/>
                </a:solidFill>
                <a:effectLst/>
                <a:latin typeface="+mn-lt"/>
                <a:ea typeface="+mn-ea"/>
                <a:cs typeface="+mn-cs"/>
              </a:rPr>
              <a:t>http://</a:t>
            </a:r>
            <a:r>
              <a:rPr lang="en-US" sz="1200" b="1" kern="1200" baseline="0" dirty="0" err="1">
                <a:solidFill>
                  <a:schemeClr val="tx1"/>
                </a:solidFill>
                <a:effectLst/>
                <a:latin typeface="+mn-lt"/>
                <a:ea typeface="+mn-ea"/>
                <a:cs typeface="+mn-cs"/>
              </a:rPr>
              <a:t>www.scaledagileframework.com</a:t>
            </a:r>
            <a:r>
              <a:rPr lang="en-US" sz="1200" b="1" kern="1200" baseline="0" dirty="0">
                <a:solidFill>
                  <a:schemeClr val="tx1"/>
                </a:solidFill>
                <a:effectLst/>
                <a:latin typeface="+mn-lt"/>
                <a:ea typeface="+mn-ea"/>
                <a:cs typeface="+mn-cs"/>
              </a:rPr>
              <a:t>/implementation-roadmap</a:t>
            </a:r>
            <a:r>
              <a:rPr lang="en-US" sz="1200" kern="1200" baseline="0" dirty="0">
                <a:solidFill>
                  <a:schemeClr val="tx1"/>
                </a:solidFill>
                <a:effectLst/>
                <a:latin typeface="+mn-lt"/>
                <a:ea typeface="+mn-ea"/>
                <a:cs typeface="+mn-cs"/>
              </a:rPr>
              <a:t>.</a:t>
            </a: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F0EB2F42-7EB3-426A-AE0F-BE645EFDC311}" type="slidenum">
              <a:rPr lang="en-US" smtClean="0"/>
              <a:pPr/>
              <a:t>30</a:t>
            </a:fld>
            <a:endParaRPr lang="en-US" dirty="0"/>
          </a:p>
        </p:txBody>
      </p:sp>
    </p:spTree>
    <p:extLst>
      <p:ext uri="{BB962C8B-B14F-4D97-AF65-F5344CB8AC3E}">
        <p14:creationId xmlns:p14="http://schemas.microsoft.com/office/powerpoint/2010/main" val="12256708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And when you do this, you’ll see results …</a:t>
            </a:r>
          </a:p>
          <a:p>
            <a:endParaRPr lang="en-US" dirty="0"/>
          </a:p>
        </p:txBody>
      </p:sp>
      <p:sp>
        <p:nvSpPr>
          <p:cNvPr id="4" name="Slide Number Placeholder 3"/>
          <p:cNvSpPr>
            <a:spLocks noGrp="1"/>
          </p:cNvSpPr>
          <p:nvPr>
            <p:ph type="sldNum" sz="quarter" idx="10"/>
          </p:nvPr>
        </p:nvSpPr>
        <p:spPr/>
        <p:txBody>
          <a:bodyPr/>
          <a:lstStyle/>
          <a:p>
            <a:fld id="{F0EB2F42-7EB3-426A-AE0F-BE645EFDC311}" type="slidenum">
              <a:rPr lang="en-US" smtClean="0"/>
              <a:pPr/>
              <a:t>31</a:t>
            </a:fld>
            <a:endParaRPr lang="en-US" dirty="0"/>
          </a:p>
        </p:txBody>
      </p:sp>
    </p:spTree>
    <p:extLst>
      <p:ext uri="{BB962C8B-B14F-4D97-AF65-F5344CB8AC3E}">
        <p14:creationId xmlns:p14="http://schemas.microsoft.com/office/powerpoint/2010/main" val="17324398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You'll get results like these:</a:t>
            </a:r>
          </a:p>
          <a:p>
            <a:pPr marL="628650" lvl="1" indent="-171450">
              <a:buFont typeface="Arial" charset="0"/>
              <a:buChar char="•"/>
            </a:pPr>
            <a:r>
              <a:rPr lang="en-US" sz="1200" kern="1200" dirty="0">
                <a:solidFill>
                  <a:schemeClr val="tx1"/>
                </a:solidFill>
                <a:effectLst/>
                <a:latin typeface="+mn-lt"/>
                <a:ea typeface="+mn-ea"/>
                <a:cs typeface="+mn-cs"/>
              </a:rPr>
              <a:t>Happier, more motivated employees</a:t>
            </a:r>
          </a:p>
          <a:p>
            <a:pPr marL="628650" lvl="1" indent="-171450">
              <a:buFont typeface="Arial" charset="0"/>
              <a:buChar char="•"/>
            </a:pPr>
            <a:r>
              <a:rPr lang="en-US" sz="1200" kern="1200" dirty="0">
                <a:solidFill>
                  <a:schemeClr val="tx1"/>
                </a:solidFill>
                <a:effectLst/>
                <a:latin typeface="+mn-lt"/>
                <a:ea typeface="+mn-ea"/>
                <a:cs typeface="+mn-cs"/>
              </a:rPr>
              <a:t>30 to 75% faster time to market</a:t>
            </a:r>
          </a:p>
          <a:p>
            <a:pPr marL="628650" lvl="1" indent="-171450">
              <a:buFont typeface="Arial" charset="0"/>
              <a:buChar char="•"/>
            </a:pPr>
            <a:r>
              <a:rPr lang="en-US" sz="1200" kern="1200" dirty="0">
                <a:solidFill>
                  <a:schemeClr val="tx1"/>
                </a:solidFill>
                <a:effectLst/>
                <a:latin typeface="+mn-lt"/>
                <a:ea typeface="+mn-ea"/>
                <a:cs typeface="+mn-cs"/>
              </a:rPr>
              <a:t>50%-plus defect reduction, and a </a:t>
            </a:r>
          </a:p>
          <a:p>
            <a:pPr marL="628650" lvl="1" indent="-171450">
              <a:buFont typeface="Arial" charset="0"/>
              <a:buChar char="•"/>
            </a:pPr>
            <a:r>
              <a:rPr lang="en-US" sz="1200" kern="1200" dirty="0">
                <a:solidFill>
                  <a:schemeClr val="tx1"/>
                </a:solidFill>
                <a:effectLst/>
                <a:latin typeface="+mn-lt"/>
                <a:ea typeface="+mn-ea"/>
                <a:cs typeface="+mn-cs"/>
              </a:rPr>
              <a:t>20 to 50% increase in productivity. </a:t>
            </a:r>
          </a:p>
          <a:p>
            <a:pPr marL="628650" lvl="1" indent="-171450">
              <a:buFont typeface="Arial" charset="0"/>
              <a:buChar char="•"/>
            </a:pP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se are some pretty impressive results results and may sound like something that’s tough to believe or marketing hyperbole…..</a:t>
            </a:r>
          </a:p>
          <a:p>
            <a:endParaRPr lang="en-US" dirty="0"/>
          </a:p>
        </p:txBody>
      </p:sp>
      <p:sp>
        <p:nvSpPr>
          <p:cNvPr id="4" name="Slide Number Placeholder 3"/>
          <p:cNvSpPr>
            <a:spLocks noGrp="1"/>
          </p:cNvSpPr>
          <p:nvPr>
            <p:ph type="sldNum" sz="quarter" idx="10"/>
          </p:nvPr>
        </p:nvSpPr>
        <p:spPr/>
        <p:txBody>
          <a:bodyPr/>
          <a:lstStyle/>
          <a:p>
            <a:fld id="{F0EB2F42-7EB3-426A-AE0F-BE645EFDC311}" type="slidenum">
              <a:rPr lang="en-US" smtClean="0"/>
              <a:pPr/>
              <a:t>32</a:t>
            </a:fld>
            <a:endParaRPr lang="en-US" dirty="0"/>
          </a:p>
        </p:txBody>
      </p:sp>
    </p:spTree>
    <p:extLst>
      <p:ext uri="{BB962C8B-B14F-4D97-AF65-F5344CB8AC3E}">
        <p14:creationId xmlns:p14="http://schemas.microsoft.com/office/powerpoint/2010/main" val="35951611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a:spLocks noGrp="1" noChangeArrowheads="1"/>
          </p:cNvSpPr>
          <p:nvPr>
            <p:ph type="hdr" sz="quarter"/>
          </p:nvPr>
        </p:nvSpPr>
        <p:spPr>
          <a:ln/>
        </p:spPr>
        <p:txBody>
          <a:bodyPr/>
          <a:lstStyle/>
          <a:p>
            <a:r>
              <a:rPr lang="en-US"/>
              <a:t>Agile Leadership</a:t>
            </a:r>
            <a:endParaRPr lang="en-US" dirty="0"/>
          </a:p>
        </p:txBody>
      </p:sp>
      <p:sp>
        <p:nvSpPr>
          <p:cNvPr id="5" name="Rectangle 6"/>
          <p:cNvSpPr>
            <a:spLocks noGrp="1" noChangeArrowheads="1"/>
          </p:cNvSpPr>
          <p:nvPr>
            <p:ph type="ftr" sz="quarter" idx="4"/>
          </p:nvPr>
        </p:nvSpPr>
        <p:spPr>
          <a:ln/>
        </p:spPr>
        <p:txBody>
          <a:bodyPr/>
          <a:lstStyle/>
          <a:p>
            <a:r>
              <a:rPr lang="en-US" dirty="0"/>
              <a:t>© 2007 Trail Ridge Consulting, LLC</a:t>
            </a:r>
          </a:p>
        </p:txBody>
      </p:sp>
      <p:sp>
        <p:nvSpPr>
          <p:cNvPr id="6" name="Rectangle 7"/>
          <p:cNvSpPr>
            <a:spLocks noGrp="1" noChangeArrowheads="1"/>
          </p:cNvSpPr>
          <p:nvPr>
            <p:ph type="sldNum" sz="quarter" idx="5"/>
          </p:nvPr>
        </p:nvSpPr>
        <p:spPr>
          <a:ln/>
        </p:spPr>
        <p:txBody>
          <a:bodyPr/>
          <a:lstStyle/>
          <a:p>
            <a:fld id="{7A70F636-A120-477C-8FB3-3074791D9F21}" type="slidenum">
              <a:rPr lang="en-US"/>
              <a:pPr/>
              <a:t>5</a:t>
            </a:fld>
            <a:endParaRPr lang="en-US" dirty="0"/>
          </a:p>
        </p:txBody>
      </p:sp>
      <p:sp>
        <p:nvSpPr>
          <p:cNvPr id="2140162" name="Rectangle 2"/>
          <p:cNvSpPr>
            <a:spLocks noGrp="1" noRot="1" noChangeAspect="1" noChangeArrowheads="1" noTextEdit="1"/>
          </p:cNvSpPr>
          <p:nvPr>
            <p:ph type="sldImg"/>
          </p:nvPr>
        </p:nvSpPr>
        <p:spPr>
          <a:ln/>
        </p:spPr>
      </p:sp>
      <p:sp>
        <p:nvSpPr>
          <p:cNvPr id="2140163" name="Rectangle 3"/>
          <p:cNvSpPr>
            <a:spLocks noGrp="1" noChangeArrowheads="1"/>
          </p:cNvSpPr>
          <p:nvPr>
            <p:ph type="body" idx="1"/>
          </p:nvPr>
        </p:nvSpPr>
        <p:spPr/>
        <p:txBody>
          <a:bodyPr>
            <a:normAutofit fontScale="92500" lnSpcReduction="20000"/>
          </a:bodyPr>
          <a:lstStyle/>
          <a:p>
            <a:r>
              <a:rPr lang="en-US" sz="1200" kern="1200" dirty="0">
                <a:solidFill>
                  <a:schemeClr val="tx1"/>
                </a:solidFill>
                <a:effectLst/>
                <a:latin typeface="+mn-lt"/>
                <a:ea typeface="+mn-ea"/>
                <a:cs typeface="+mn-cs"/>
              </a:rPr>
              <a:t>It’s clear we need something different.</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We're going to talk today about systems thinking and Lean product development and Agile development.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is is from Deming, the quintessential leader of this field:</a:t>
            </a: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a:t>
            </a:r>
            <a:r>
              <a:rPr lang="en-US" sz="1200" i="1" kern="1200" dirty="0">
                <a:solidFill>
                  <a:schemeClr val="tx1"/>
                </a:solidFill>
                <a:effectLst/>
                <a:latin typeface="+mn-lt"/>
                <a:ea typeface="+mn-ea"/>
                <a:cs typeface="+mn-cs"/>
              </a:rPr>
              <a:t>It is not enough that management commit themselves to quality and productivity.  … They must know what it is they must do."</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Further on in this book, the famous 1982 book </a:t>
            </a:r>
            <a:r>
              <a:rPr lang="en-US" sz="1200" i="1" kern="1200" dirty="0">
                <a:solidFill>
                  <a:schemeClr val="tx1"/>
                </a:solidFill>
                <a:effectLst/>
                <a:latin typeface="+mn-lt"/>
                <a:ea typeface="+mn-ea"/>
                <a:cs typeface="+mn-cs"/>
              </a:rPr>
              <a:t>Out of the Crisis </a:t>
            </a:r>
            <a:r>
              <a:rPr lang="en-US" sz="1200" kern="1200" dirty="0">
                <a:solidFill>
                  <a:schemeClr val="tx1"/>
                </a:solidFill>
                <a:effectLst/>
                <a:latin typeface="+mn-lt"/>
                <a:ea typeface="+mn-ea"/>
                <a:cs typeface="+mn-cs"/>
              </a:rPr>
              <a:t>Deming says, </a:t>
            </a:r>
            <a:br>
              <a:rPr lang="en-US" sz="1200" kern="1200" dirty="0">
                <a:solidFill>
                  <a:schemeClr val="tx1"/>
                </a:solidFill>
                <a:effectLst/>
                <a:latin typeface="+mn-lt"/>
                <a:ea typeface="+mn-ea"/>
                <a:cs typeface="+mn-cs"/>
              </a:rPr>
            </a:br>
            <a:r>
              <a:rPr lang="en-US" sz="1200" i="1" kern="1200" dirty="0">
                <a:solidFill>
                  <a:schemeClr val="tx1"/>
                </a:solidFill>
                <a:effectLst/>
                <a:latin typeface="+mn-lt"/>
                <a:ea typeface="+mn-ea"/>
                <a:cs typeface="+mn-cs"/>
              </a:rPr>
              <a:t>"Such a responsibility cannot be delegated." </a:t>
            </a:r>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What does that mean?  </a:t>
            </a:r>
            <a:br>
              <a:rPr lang="en-US" sz="1200" kern="1200" dirty="0">
                <a:solidFill>
                  <a:schemeClr val="tx1"/>
                </a:solidFill>
                <a:effectLst/>
                <a:latin typeface="+mn-lt"/>
                <a:ea typeface="+mn-ea"/>
                <a:cs typeface="+mn-cs"/>
              </a:rPr>
            </a:b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It means that we, as the leaders, have the ultimate responsibility for implementing the change in the organization. It is our leadership that will make that effective.</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Later in the book there's a discussion between one VP of manufacturing to another. The one VP has a stellar quality record, and the other one not so much. So the second VP said to the first, "</a:t>
            </a:r>
            <a:r>
              <a:rPr lang="en-US" sz="1200" i="1" kern="1200" dirty="0">
                <a:solidFill>
                  <a:schemeClr val="tx1"/>
                </a:solidFill>
                <a:effectLst/>
                <a:latin typeface="+mn-lt"/>
                <a:ea typeface="+mn-ea"/>
                <a:cs typeface="+mn-cs"/>
              </a:rPr>
              <a:t>Can I visit? Can I come see your plant and learn your secrets?</a:t>
            </a:r>
            <a:r>
              <a:rPr lang="en-US" sz="1200" kern="1200" dirty="0">
                <a:solidFill>
                  <a:schemeClr val="tx1"/>
                </a:solidFill>
                <a:effectLst/>
                <a:latin typeface="+mn-lt"/>
                <a:ea typeface="+mn-ea"/>
                <a:cs typeface="+mn-cs"/>
              </a:rPr>
              <a:t>"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nd the first VP replied, "</a:t>
            </a:r>
            <a:r>
              <a:rPr lang="en-US" sz="1200" i="1" kern="1200" dirty="0">
                <a:solidFill>
                  <a:schemeClr val="tx1"/>
                </a:solidFill>
                <a:effectLst/>
                <a:latin typeface="+mn-lt"/>
                <a:ea typeface="+mn-ea"/>
                <a:cs typeface="+mn-cs"/>
              </a:rPr>
              <a:t>Absolutely. But if you can't come, send no one."</a:t>
            </a:r>
            <a:r>
              <a:rPr lang="en-US" sz="1200" kern="1200" dirty="0">
                <a:solidFill>
                  <a:schemeClr val="tx1"/>
                </a:solidFill>
                <a:effectLst/>
                <a:latin typeface="+mn-lt"/>
                <a:ea typeface="+mn-ea"/>
                <a:cs typeface="+mn-cs"/>
              </a:rPr>
              <a:t>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What did he mean by that? </a:t>
            </a: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It's pretty clear: This is not a responsibility that can be delegated. </a:t>
            </a:r>
          </a:p>
          <a:p>
            <a:r>
              <a:rPr lang="en-US" sz="1200" kern="1200" dirty="0">
                <a:solidFill>
                  <a:schemeClr val="tx1"/>
                </a:solidFill>
                <a:effectLst/>
                <a:latin typeface="+mn-lt"/>
                <a:ea typeface="+mn-ea"/>
                <a:cs typeface="+mn-cs"/>
              </a:rPr>
              <a:t>The lessons for you leaders out there, you change agents and those of you who have decided to take this initiative to your large enterprise, and to make the changes to improve quality and productivity. </a:t>
            </a:r>
          </a:p>
          <a:p>
            <a:endParaRPr lang="en-US" dirty="0"/>
          </a:p>
        </p:txBody>
      </p:sp>
    </p:spTree>
    <p:extLst>
      <p:ext uri="{BB962C8B-B14F-4D97-AF65-F5344CB8AC3E}">
        <p14:creationId xmlns:p14="http://schemas.microsoft.com/office/powerpoint/2010/main" val="24186411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 except that these numbers and results come from the companies themselves.</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We don’t influence them. We simply gather</a:t>
            </a:r>
            <a:r>
              <a:rPr lang="en-US" sz="1200" kern="1200" baseline="0" dirty="0">
                <a:solidFill>
                  <a:schemeClr val="tx1"/>
                </a:solidFill>
                <a:effectLst/>
                <a:latin typeface="+mn-lt"/>
                <a:ea typeface="+mn-ea"/>
                <a:cs typeface="+mn-cs"/>
              </a:rPr>
              <a:t> the data from the enterprises and </a:t>
            </a:r>
            <a:r>
              <a:rPr lang="en-US" sz="1200" kern="1200" dirty="0">
                <a:solidFill>
                  <a:schemeClr val="tx1"/>
                </a:solidFill>
                <a:effectLst/>
                <a:latin typeface="+mn-lt"/>
                <a:ea typeface="+mn-ea"/>
                <a:cs typeface="+mn-cs"/>
              </a:rPr>
              <a:t>publish them.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Go to the website and you’ll see over 40 documented case studies on SAFe right now.</a:t>
            </a:r>
          </a:p>
          <a:p>
            <a:endParaRPr lang="en-US" sz="120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cs typeface="Open Sans"/>
              </a:rPr>
              <a:t>scaledagileframework.com/</a:t>
            </a:r>
            <a:r>
              <a:rPr lang="en-US" sz="1200" b="1" dirty="0">
                <a:cs typeface="Open Sans"/>
              </a:rPr>
              <a:t>case-studies</a:t>
            </a:r>
          </a:p>
          <a:p>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F0EB2F42-7EB3-426A-AE0F-BE645EFDC311}" type="slidenum">
              <a:rPr lang="en-US" smtClean="0"/>
              <a:pPr/>
              <a:t>33</a:t>
            </a:fld>
            <a:endParaRPr lang="en-US" dirty="0"/>
          </a:p>
        </p:txBody>
      </p:sp>
    </p:spTree>
    <p:extLst>
      <p:ext uri="{BB962C8B-B14F-4D97-AF65-F5344CB8AC3E}">
        <p14:creationId xmlns:p14="http://schemas.microsoft.com/office/powerpoint/2010/main" val="79592162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Your next step is to gain the knowledge.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You can find SAFe training worldwide at </a:t>
            </a:r>
            <a:r>
              <a:rPr lang="en-US" sz="1200" b="1" kern="1200" dirty="0" err="1">
                <a:solidFill>
                  <a:schemeClr val="tx1"/>
                </a:solidFill>
                <a:effectLst/>
                <a:latin typeface="+mn-lt"/>
                <a:ea typeface="+mn-ea"/>
                <a:cs typeface="+mn-cs"/>
              </a:rPr>
              <a:t>scaledagile.com</a:t>
            </a:r>
            <a:r>
              <a:rPr lang="en-US" sz="1200" kern="1200" dirty="0">
                <a:solidFill>
                  <a:schemeClr val="tx1"/>
                </a:solidFill>
                <a:effectLst/>
                <a:latin typeface="+mn-lt"/>
                <a:ea typeface="+mn-ea"/>
                <a:cs typeface="+mn-cs"/>
              </a:rPr>
              <a:t>, and you can explore the SAFe knowledge base and find other free resources at </a:t>
            </a:r>
            <a:r>
              <a:rPr lang="en-US" sz="1200" b="1" kern="1200" dirty="0">
                <a:solidFill>
                  <a:schemeClr val="tx1"/>
                </a:solidFill>
                <a:effectLst/>
                <a:latin typeface="+mn-lt"/>
                <a:ea typeface="+mn-ea"/>
                <a:cs typeface="+mn-cs"/>
              </a:rPr>
              <a:t>scaledagileframework.com</a:t>
            </a:r>
            <a:r>
              <a:rPr lang="en-US" sz="1200" kern="1200" dirty="0">
                <a:solidFill>
                  <a:schemeClr val="tx1"/>
                </a:solidFill>
                <a:effectLst/>
                <a:latin typeface="+mn-lt"/>
                <a:ea typeface="+mn-ea"/>
                <a:cs typeface="+mn-cs"/>
              </a:rPr>
              <a:t>. </a:t>
            </a:r>
          </a:p>
          <a:p>
            <a:endParaRPr lang="en-US" dirty="0"/>
          </a:p>
        </p:txBody>
      </p:sp>
      <p:sp>
        <p:nvSpPr>
          <p:cNvPr id="4" name="Slide Number Placeholder 3"/>
          <p:cNvSpPr>
            <a:spLocks noGrp="1"/>
          </p:cNvSpPr>
          <p:nvPr>
            <p:ph type="sldNum" sz="quarter" idx="10"/>
          </p:nvPr>
        </p:nvSpPr>
        <p:spPr/>
        <p:txBody>
          <a:bodyPr/>
          <a:lstStyle/>
          <a:p>
            <a:fld id="{F0EB2F42-7EB3-426A-AE0F-BE645EFDC311}" type="slidenum">
              <a:rPr lang="en-US" smtClean="0"/>
              <a:pPr/>
              <a:t>34</a:t>
            </a:fld>
            <a:endParaRPr lang="en-US" dirty="0"/>
          </a:p>
        </p:txBody>
      </p:sp>
    </p:spTree>
    <p:extLst>
      <p:ext uri="{BB962C8B-B14F-4D97-AF65-F5344CB8AC3E}">
        <p14:creationId xmlns:p14="http://schemas.microsoft.com/office/powerpoint/2010/main" val="40887368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lnSpc>
                <a:spcPts val="2220"/>
              </a:lnSpc>
            </a:pPr>
            <a:r>
              <a:rPr lang="en-US" sz="1400" dirty="0"/>
              <a:t>Scaled Agile’s role-based curriculum helps enterprises unlock business results with SAFe.</a:t>
            </a:r>
          </a:p>
          <a:p>
            <a:pPr algn="l">
              <a:lnSpc>
                <a:spcPts val="2220"/>
              </a:lnSpc>
            </a:pPr>
            <a:endParaRPr lang="en-US" sz="1400" dirty="0"/>
          </a:p>
          <a:p>
            <a:pPr algn="l">
              <a:lnSpc>
                <a:spcPts val="2220"/>
              </a:lnSpc>
            </a:pPr>
            <a:r>
              <a:rPr lang="en-US" sz="1400" dirty="0"/>
              <a:t>Each course is designed to help individuals maximize the value of their role within a SAFe organization, and help them advance throughout their career as they practice, consult, or train others in SAFe.</a:t>
            </a:r>
          </a:p>
          <a:p>
            <a:pPr algn="l">
              <a:lnSpc>
                <a:spcPts val="2220"/>
              </a:lnSpc>
            </a:pPr>
            <a:endParaRPr lang="en-US" sz="1400" dirty="0"/>
          </a:p>
          <a:p>
            <a:pPr algn="l">
              <a:lnSpc>
                <a:spcPts val="2220"/>
              </a:lnSpc>
            </a:pPr>
            <a:r>
              <a:rPr lang="en-US" sz="1400" b="1" dirty="0"/>
              <a:t>The result is higher-quality implementations, and greater stability for the organization</a:t>
            </a:r>
            <a:r>
              <a:rPr lang="en-US" sz="1400" dirty="0"/>
              <a:t>.</a:t>
            </a:r>
          </a:p>
          <a:p>
            <a:pPr algn="l"/>
            <a:endParaRPr lang="en-US" sz="1400" dirty="0"/>
          </a:p>
        </p:txBody>
      </p:sp>
      <p:sp>
        <p:nvSpPr>
          <p:cNvPr id="4" name="Slide Number Placeholder 3"/>
          <p:cNvSpPr>
            <a:spLocks noGrp="1"/>
          </p:cNvSpPr>
          <p:nvPr>
            <p:ph type="sldNum" sz="quarter" idx="10"/>
          </p:nvPr>
        </p:nvSpPr>
        <p:spPr/>
        <p:txBody>
          <a:bodyPr/>
          <a:lstStyle/>
          <a:p>
            <a:fld id="{F0EB2F42-7EB3-426A-AE0F-BE645EFDC311}" type="slidenum">
              <a:rPr lang="en-US" smtClean="0"/>
              <a:pPr/>
              <a:t>35</a:t>
            </a:fld>
            <a:endParaRPr lang="en-US" dirty="0"/>
          </a:p>
        </p:txBody>
      </p:sp>
    </p:spTree>
    <p:extLst>
      <p:ext uri="{BB962C8B-B14F-4D97-AF65-F5344CB8AC3E}">
        <p14:creationId xmlns:p14="http://schemas.microsoft.com/office/powerpoint/2010/main" val="376300765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0EB2F42-7EB3-426A-AE0F-BE645EFDC311}" type="slidenum">
              <a:rPr lang="en-US" smtClean="0"/>
              <a:pPr/>
              <a:t>36</a:t>
            </a:fld>
            <a:endParaRPr lang="en-US" dirty="0"/>
          </a:p>
        </p:txBody>
      </p:sp>
    </p:spTree>
    <p:extLst>
      <p:ext uri="{BB962C8B-B14F-4D97-AF65-F5344CB8AC3E}">
        <p14:creationId xmlns:p14="http://schemas.microsoft.com/office/powerpoint/2010/main" val="423518232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F0EB2F42-7EB3-426A-AE0F-BE645EFDC311}" type="slidenum">
              <a:rPr lang="en-US" smtClean="0"/>
              <a:pPr/>
              <a:t>37</a:t>
            </a:fld>
            <a:endParaRPr lang="en-US" dirty="0"/>
          </a:p>
        </p:txBody>
      </p:sp>
    </p:spTree>
    <p:extLst>
      <p:ext uri="{BB962C8B-B14F-4D97-AF65-F5344CB8AC3E}">
        <p14:creationId xmlns:p14="http://schemas.microsoft.com/office/powerpoint/2010/main" val="300256076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0EB2F42-7EB3-426A-AE0F-BE645EFDC311}" type="slidenum">
              <a:rPr lang="en-US" smtClean="0"/>
              <a:pPr/>
              <a:t>38</a:t>
            </a:fld>
            <a:endParaRPr lang="en-US" dirty="0"/>
          </a:p>
        </p:txBody>
      </p:sp>
    </p:spTree>
    <p:extLst>
      <p:ext uri="{BB962C8B-B14F-4D97-AF65-F5344CB8AC3E}">
        <p14:creationId xmlns:p14="http://schemas.microsoft.com/office/powerpoint/2010/main" val="20379637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So what is it that they—we—must do? </a:t>
            </a:r>
            <a:br>
              <a:rPr lang="en-US" sz="1200" kern="1200" dirty="0">
                <a:solidFill>
                  <a:schemeClr val="tx1"/>
                </a:solidFill>
                <a:effectLst/>
                <a:latin typeface="+mn-lt"/>
                <a:ea typeface="+mn-ea"/>
                <a:cs typeface="+mn-cs"/>
              </a:rPr>
            </a:b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re are certainly plenty of opinions on that. We'll share ours:</a:t>
            </a:r>
          </a:p>
          <a:p>
            <a:pPr marL="628650" lvl="1" indent="-171450">
              <a:buFont typeface="Arial" charset="0"/>
              <a:buChar char="•"/>
            </a:pPr>
            <a:r>
              <a:rPr lang="en-US" sz="1200" kern="1200" dirty="0">
                <a:solidFill>
                  <a:schemeClr val="tx1"/>
                </a:solidFill>
                <a:effectLst/>
                <a:latin typeface="+mn-lt"/>
                <a:ea typeface="+mn-ea"/>
                <a:cs typeface="+mn-cs"/>
              </a:rPr>
              <a:t>Number one: </a:t>
            </a:r>
            <a:r>
              <a:rPr lang="en-US" sz="1200" b="1" kern="1200" dirty="0">
                <a:solidFill>
                  <a:schemeClr val="tx1"/>
                </a:solidFill>
                <a:effectLst/>
                <a:latin typeface="+mn-lt"/>
                <a:ea typeface="+mn-ea"/>
                <a:cs typeface="+mn-cs"/>
              </a:rPr>
              <a:t>Embrace a Lean-Agile mindset.</a:t>
            </a:r>
            <a:endParaRPr lang="en-US" sz="1200" kern="1200" dirty="0">
              <a:solidFill>
                <a:schemeClr val="tx1"/>
              </a:solidFill>
              <a:effectLst/>
              <a:latin typeface="+mn-lt"/>
              <a:ea typeface="+mn-ea"/>
              <a:cs typeface="+mn-cs"/>
            </a:endParaRPr>
          </a:p>
          <a:p>
            <a:pPr marL="628650" lvl="1" indent="-171450">
              <a:buFont typeface="Arial" charset="0"/>
              <a:buChar char="•"/>
            </a:pPr>
            <a:r>
              <a:rPr lang="en-US" sz="1200" kern="1200" dirty="0">
                <a:solidFill>
                  <a:schemeClr val="tx1"/>
                </a:solidFill>
                <a:effectLst/>
                <a:latin typeface="+mn-lt"/>
                <a:ea typeface="+mn-ea"/>
                <a:cs typeface="+mn-cs"/>
              </a:rPr>
              <a:t>Number two: </a:t>
            </a:r>
            <a:r>
              <a:rPr lang="en-US" sz="1200" b="1" kern="1200" dirty="0">
                <a:solidFill>
                  <a:schemeClr val="tx1"/>
                </a:solidFill>
                <a:effectLst/>
                <a:latin typeface="+mn-lt"/>
                <a:ea typeface="+mn-ea"/>
                <a:cs typeface="+mn-cs"/>
              </a:rPr>
              <a:t>Implement Lean-Agile practices.</a:t>
            </a:r>
            <a:endParaRPr lang="en-US" sz="1200" kern="1200" dirty="0">
              <a:solidFill>
                <a:schemeClr val="tx1"/>
              </a:solidFill>
              <a:effectLst/>
              <a:latin typeface="+mn-lt"/>
              <a:ea typeface="+mn-ea"/>
              <a:cs typeface="+mn-cs"/>
            </a:endParaRPr>
          </a:p>
          <a:p>
            <a:pPr marL="628650" lvl="1" indent="-171450">
              <a:buFont typeface="Arial" charset="0"/>
              <a:buChar char="•"/>
            </a:pPr>
            <a:r>
              <a:rPr lang="en-US" sz="1200" kern="1200" dirty="0">
                <a:solidFill>
                  <a:schemeClr val="tx1"/>
                </a:solidFill>
                <a:effectLst/>
                <a:latin typeface="+mn-lt"/>
                <a:ea typeface="+mn-ea"/>
                <a:cs typeface="+mn-cs"/>
              </a:rPr>
              <a:t>Thirdly: </a:t>
            </a:r>
            <a:r>
              <a:rPr lang="en-US" sz="1200" b="1" kern="1200" dirty="0">
                <a:solidFill>
                  <a:schemeClr val="tx1"/>
                </a:solidFill>
                <a:effectLst/>
                <a:latin typeface="+mn-lt"/>
                <a:ea typeface="+mn-ea"/>
                <a:cs typeface="+mn-cs"/>
              </a:rPr>
              <a:t>Lead the implementation.</a:t>
            </a:r>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nd we're confident that if you do those things, you'll </a:t>
            </a:r>
            <a:r>
              <a:rPr lang="en-US" sz="1200" b="1" kern="1200" dirty="0">
                <a:solidFill>
                  <a:schemeClr val="tx1"/>
                </a:solidFill>
                <a:effectLst/>
                <a:latin typeface="+mn-lt"/>
                <a:ea typeface="+mn-ea"/>
                <a:cs typeface="+mn-cs"/>
              </a:rPr>
              <a:t>get the results</a:t>
            </a:r>
            <a:r>
              <a:rPr lang="en-US" sz="1200" kern="1200" dirty="0">
                <a:solidFill>
                  <a:schemeClr val="tx1"/>
                </a:solidFill>
                <a:effectLst/>
                <a:latin typeface="+mn-lt"/>
                <a:ea typeface="+mn-ea"/>
                <a:cs typeface="+mn-cs"/>
              </a:rPr>
              <a:t> you deserve.</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Let's talk about each of these three things…..</a:t>
            </a:r>
          </a:p>
          <a:p>
            <a:endParaRPr lang="en-US" dirty="0"/>
          </a:p>
        </p:txBody>
      </p:sp>
      <p:sp>
        <p:nvSpPr>
          <p:cNvPr id="4" name="Slide Number Placeholder 3"/>
          <p:cNvSpPr>
            <a:spLocks noGrp="1"/>
          </p:cNvSpPr>
          <p:nvPr>
            <p:ph type="sldNum" sz="quarter" idx="10"/>
          </p:nvPr>
        </p:nvSpPr>
        <p:spPr/>
        <p:txBody>
          <a:bodyPr/>
          <a:lstStyle/>
          <a:p>
            <a:fld id="{F0EB2F42-7EB3-426A-AE0F-BE645EFDC311}" type="slidenum">
              <a:rPr lang="en-US" smtClean="0"/>
              <a:pPr/>
              <a:t>6</a:t>
            </a:fld>
            <a:endParaRPr lang="en-US" dirty="0"/>
          </a:p>
        </p:txBody>
      </p:sp>
    </p:spTree>
    <p:extLst>
      <p:ext uri="{BB962C8B-B14F-4D97-AF65-F5344CB8AC3E}">
        <p14:creationId xmlns:p14="http://schemas.microsoft.com/office/powerpoint/2010/main" val="12009024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0EB2F42-7EB3-426A-AE0F-BE645EFDC311}" type="slidenum">
              <a:rPr lang="en-US" smtClean="0"/>
              <a:pPr/>
              <a:t>7</a:t>
            </a:fld>
            <a:endParaRPr lang="en-US" dirty="0"/>
          </a:p>
        </p:txBody>
      </p:sp>
    </p:spTree>
    <p:extLst>
      <p:ext uri="{BB962C8B-B14F-4D97-AF65-F5344CB8AC3E}">
        <p14:creationId xmlns:p14="http://schemas.microsoft.com/office/powerpoint/2010/main" val="7352312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0EB2F42-7EB3-426A-AE0F-BE645EFDC311}" type="slidenum">
              <a:rPr lang="en-US" smtClean="0"/>
              <a:pPr/>
              <a:t>8</a:t>
            </a:fld>
            <a:endParaRPr lang="en-US" dirty="0"/>
          </a:p>
        </p:txBody>
      </p:sp>
    </p:spTree>
    <p:extLst>
      <p:ext uri="{BB962C8B-B14F-4D97-AF65-F5344CB8AC3E}">
        <p14:creationId xmlns:p14="http://schemas.microsoft.com/office/powerpoint/2010/main" val="5464594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First, let's discuss embracing a Lean-Agile mindset.</a:t>
            </a:r>
          </a:p>
          <a:p>
            <a:endParaRPr lang="en-US" dirty="0"/>
          </a:p>
        </p:txBody>
      </p:sp>
      <p:sp>
        <p:nvSpPr>
          <p:cNvPr id="4" name="Slide Number Placeholder 3"/>
          <p:cNvSpPr>
            <a:spLocks noGrp="1"/>
          </p:cNvSpPr>
          <p:nvPr>
            <p:ph type="sldNum" sz="quarter" idx="10"/>
          </p:nvPr>
        </p:nvSpPr>
        <p:spPr/>
        <p:txBody>
          <a:bodyPr/>
          <a:lstStyle/>
          <a:p>
            <a:fld id="{F0EB2F42-7EB3-426A-AE0F-BE645EFDC311}" type="slidenum">
              <a:rPr lang="en-US" smtClean="0"/>
              <a:pPr/>
              <a:t>9</a:t>
            </a:fld>
            <a:endParaRPr lang="en-US" dirty="0"/>
          </a:p>
        </p:txBody>
      </p:sp>
    </p:spTree>
    <p:extLst>
      <p:ext uri="{BB962C8B-B14F-4D97-AF65-F5344CB8AC3E}">
        <p14:creationId xmlns:p14="http://schemas.microsoft.com/office/powerpoint/2010/main" val="4046873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r>
              <a:rPr lang="en-US" sz="1200" kern="1200" dirty="0">
                <a:solidFill>
                  <a:schemeClr val="tx1"/>
                </a:solidFill>
                <a:effectLst/>
                <a:latin typeface="+mn-lt"/>
                <a:ea typeface="+mn-ea"/>
                <a:cs typeface="+mn-cs"/>
              </a:rPr>
              <a:t>Our Lean-Agile mindset is represented in two things:</a:t>
            </a:r>
          </a:p>
          <a:p>
            <a:endParaRPr lang="en-US" sz="1200" b="1"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1) The House of Lean</a:t>
            </a:r>
            <a:r>
              <a:rPr lang="en-US" sz="1200" kern="1200" dirty="0">
                <a:solidFill>
                  <a:schemeClr val="tx1"/>
                </a:solidFill>
                <a:effectLst/>
                <a:latin typeface="+mn-lt"/>
                <a:ea typeface="+mn-ea"/>
                <a:cs typeface="+mn-cs"/>
              </a:rPr>
              <a:t>, which you see here. It has a number of elements: </a:t>
            </a:r>
          </a:p>
          <a:p>
            <a:pPr lvl="0"/>
            <a:endParaRPr lang="en-US" sz="1200" b="1" i="1" kern="1200" dirty="0">
              <a:solidFill>
                <a:schemeClr val="tx1"/>
              </a:solidFill>
              <a:effectLst/>
              <a:latin typeface="+mn-lt"/>
              <a:ea typeface="+mn-ea"/>
              <a:cs typeface="+mn-cs"/>
            </a:endParaRPr>
          </a:p>
          <a:p>
            <a:pPr lvl="0"/>
            <a:r>
              <a:rPr lang="en-US" sz="1200" b="1" i="1" kern="1200" dirty="0">
                <a:solidFill>
                  <a:schemeClr val="tx1"/>
                </a:solidFill>
                <a:effectLst/>
                <a:latin typeface="+mn-lt"/>
                <a:ea typeface="+mn-ea"/>
                <a:cs typeface="+mn-cs"/>
              </a:rPr>
              <a:t>Value</a:t>
            </a:r>
            <a:r>
              <a:rPr lang="en-US" sz="1200" b="1" kern="1200" dirty="0">
                <a:solidFill>
                  <a:schemeClr val="tx1"/>
                </a:solidFill>
                <a:effectLst/>
                <a:latin typeface="+mn-lt"/>
                <a:ea typeface="+mn-ea"/>
                <a:cs typeface="+mn-cs"/>
              </a:rPr>
              <a:t>,</a:t>
            </a:r>
            <a:r>
              <a:rPr lang="en-US" sz="1200" kern="1200" dirty="0">
                <a:solidFill>
                  <a:schemeClr val="tx1"/>
                </a:solidFill>
                <a:effectLst/>
                <a:latin typeface="+mn-lt"/>
                <a:ea typeface="+mn-ea"/>
                <a:cs typeface="+mn-cs"/>
              </a:rPr>
              <a:t> because the goal of Lean is very simple: value, and the shortest sustainable lead time. </a:t>
            </a:r>
          </a:p>
          <a:p>
            <a:pPr lvl="0"/>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That's accomplished by the pillars of </a:t>
            </a:r>
            <a:r>
              <a:rPr lang="en-US" sz="1200" b="1" i="1" kern="1200" dirty="0">
                <a:solidFill>
                  <a:schemeClr val="tx1"/>
                </a:solidFill>
                <a:effectLst/>
                <a:latin typeface="+mn-lt"/>
                <a:ea typeface="+mn-ea"/>
                <a:cs typeface="+mn-cs"/>
              </a:rPr>
              <a:t>respect for people and culture</a:t>
            </a:r>
            <a:r>
              <a:rPr lang="en-US" sz="1200" kern="1200" dirty="0">
                <a:solidFill>
                  <a:schemeClr val="tx1"/>
                </a:solidFill>
                <a:effectLst/>
                <a:latin typeface="+mn-lt"/>
                <a:ea typeface="+mn-ea"/>
                <a:cs typeface="+mn-cs"/>
              </a:rPr>
              <a:t>, product development </a:t>
            </a:r>
            <a:r>
              <a:rPr lang="en-US" sz="1200" i="1" kern="1200" dirty="0">
                <a:solidFill>
                  <a:schemeClr val="tx1"/>
                </a:solidFill>
                <a:effectLst/>
                <a:latin typeface="+mn-lt"/>
                <a:ea typeface="+mn-ea"/>
                <a:cs typeface="+mn-cs"/>
              </a:rPr>
              <a:t>flow</a:t>
            </a:r>
            <a:r>
              <a:rPr lang="en-US" sz="1200" kern="1200" dirty="0">
                <a:solidFill>
                  <a:schemeClr val="tx1"/>
                </a:solidFill>
                <a:effectLst/>
                <a:latin typeface="+mn-lt"/>
                <a:ea typeface="+mn-ea"/>
                <a:cs typeface="+mn-cs"/>
              </a:rPr>
              <a:t>, </a:t>
            </a:r>
            <a:r>
              <a:rPr lang="en-US" sz="1200" i="1" kern="1200" dirty="0">
                <a:solidFill>
                  <a:schemeClr val="tx1"/>
                </a:solidFill>
                <a:effectLst/>
                <a:latin typeface="+mn-lt"/>
                <a:ea typeface="+mn-ea"/>
                <a:cs typeface="+mn-cs"/>
              </a:rPr>
              <a:t>innovation</a:t>
            </a:r>
            <a:r>
              <a:rPr lang="en-US" sz="1200" kern="1200" dirty="0">
                <a:solidFill>
                  <a:schemeClr val="tx1"/>
                </a:solidFill>
                <a:effectLst/>
                <a:latin typeface="+mn-lt"/>
                <a:ea typeface="+mn-ea"/>
                <a:cs typeface="+mn-cs"/>
              </a:rPr>
              <a:t>—critical to long-term sustainability—and </a:t>
            </a:r>
            <a:r>
              <a:rPr lang="en-US" sz="1200" i="1" kern="1200" dirty="0">
                <a:solidFill>
                  <a:schemeClr val="tx1"/>
                </a:solidFill>
                <a:effectLst/>
                <a:latin typeface="+mn-lt"/>
                <a:ea typeface="+mn-ea"/>
                <a:cs typeface="+mn-cs"/>
              </a:rPr>
              <a:t>relentless improvement</a:t>
            </a:r>
            <a:r>
              <a:rPr lang="en-US" sz="1200" kern="1200" dirty="0">
                <a:solidFill>
                  <a:schemeClr val="tx1"/>
                </a:solidFill>
                <a:effectLst/>
                <a:latin typeface="+mn-lt"/>
                <a:ea typeface="+mn-ea"/>
                <a:cs typeface="+mn-cs"/>
              </a:rPr>
              <a:t>.</a:t>
            </a:r>
          </a:p>
          <a:p>
            <a:pPr lvl="0"/>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And it's supported by </a:t>
            </a:r>
            <a:r>
              <a:rPr lang="en-US" sz="1200" b="1" i="1" kern="1200" dirty="0">
                <a:solidFill>
                  <a:schemeClr val="tx1"/>
                </a:solidFill>
                <a:effectLst/>
                <a:latin typeface="+mn-lt"/>
                <a:ea typeface="+mn-ea"/>
                <a:cs typeface="+mn-cs"/>
              </a:rPr>
              <a:t>leadership</a:t>
            </a:r>
            <a:r>
              <a:rPr lang="en-US" sz="1200" kern="1200" dirty="0">
                <a:solidFill>
                  <a:schemeClr val="tx1"/>
                </a:solidFill>
                <a:effectLst/>
                <a:latin typeface="+mn-lt"/>
                <a:ea typeface="+mn-ea"/>
                <a:cs typeface="+mn-cs"/>
              </a:rPr>
              <a:t>. </a:t>
            </a:r>
            <a:r>
              <a:rPr lang="en-US" sz="1200" kern="1200" baseline="0" dirty="0">
                <a:solidFill>
                  <a:schemeClr val="tx1"/>
                </a:solidFill>
                <a:effectLst/>
                <a:latin typeface="+mn-lt"/>
                <a:ea typeface="+mn-ea"/>
                <a:cs typeface="+mn-cs"/>
              </a:rPr>
              <a:t> </a:t>
            </a:r>
          </a:p>
          <a:p>
            <a:pPr lvl="0"/>
            <a:endParaRPr lang="en-US" sz="1200" kern="1200" baseline="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That's the structure in which we tend to think about the Lean paradigm.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2) Secondly is the </a:t>
            </a:r>
            <a:r>
              <a:rPr lang="en-US" sz="1200" b="1" kern="1200" dirty="0">
                <a:solidFill>
                  <a:schemeClr val="tx1"/>
                </a:solidFill>
                <a:effectLst/>
                <a:latin typeface="+mn-lt"/>
                <a:ea typeface="+mn-ea"/>
                <a:cs typeface="+mn-cs"/>
              </a:rPr>
              <a:t>Agile Manifesto</a:t>
            </a:r>
            <a:r>
              <a:rPr lang="en-US" sz="1200" kern="1200" dirty="0">
                <a:solidFill>
                  <a:schemeClr val="tx1"/>
                </a:solidFill>
                <a:effectLst/>
                <a:latin typeface="+mn-lt"/>
                <a:ea typeface="+mn-ea"/>
                <a:cs typeface="+mn-cs"/>
              </a:rPr>
              <a:t>, which has been with us now since 2001 It's a very well-written document, and what it says is still true today. We need the Agile Manifesto because it's the key to unlocking the motivations and the talents of the knowledge workers who develop our solutions and software.</a:t>
            </a:r>
          </a:p>
          <a:p>
            <a:endParaRPr lang="en-US" sz="1200" kern="1200" dirty="0">
              <a:solidFill>
                <a:schemeClr val="tx1"/>
              </a:solidFill>
              <a:effectLst/>
              <a:latin typeface="+mn-lt"/>
              <a:ea typeface="+mn-ea"/>
              <a:cs typeface="+mn-cs"/>
            </a:endParaRPr>
          </a:p>
          <a:p>
            <a:pPr marL="628650" lvl="1" indent="-171450">
              <a:buFont typeface="Arial" charset="0"/>
              <a:buChar char="•"/>
            </a:pPr>
            <a:r>
              <a:rPr lang="en-US" sz="1200" kern="1200" dirty="0">
                <a:solidFill>
                  <a:schemeClr val="tx1"/>
                </a:solidFill>
                <a:effectLst/>
                <a:latin typeface="+mn-lt"/>
                <a:ea typeface="+mn-ea"/>
                <a:cs typeface="+mn-cs"/>
              </a:rPr>
              <a:t>And it states specifically, </a:t>
            </a: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a:t>
            </a:r>
            <a:r>
              <a:rPr lang="en-US" sz="1200" i="1" kern="1200" dirty="0">
                <a:solidFill>
                  <a:schemeClr val="tx1"/>
                </a:solidFill>
                <a:effectLst/>
                <a:latin typeface="+mn-lt"/>
                <a:ea typeface="+mn-ea"/>
                <a:cs typeface="+mn-cs"/>
              </a:rPr>
              <a:t>Individuals and interactions over processes and tools."  </a:t>
            </a:r>
            <a:r>
              <a:rPr lang="en-US" sz="1200" kern="1200" dirty="0">
                <a:solidFill>
                  <a:schemeClr val="tx1"/>
                </a:solidFill>
                <a:effectLst/>
                <a:latin typeface="+mn-lt"/>
                <a:ea typeface="+mn-ea"/>
                <a:cs typeface="+mn-cs"/>
              </a:rPr>
              <a:t>Because talking matters.</a:t>
            </a:r>
          </a:p>
          <a:p>
            <a:pPr marL="628650" lvl="1" indent="-171450">
              <a:buFont typeface="Arial" charset="0"/>
              <a:buChar char="•"/>
            </a:pPr>
            <a:r>
              <a:rPr lang="en-US" sz="1200" kern="1200" dirty="0">
                <a:solidFill>
                  <a:schemeClr val="tx1"/>
                </a:solidFill>
                <a:effectLst/>
                <a:latin typeface="+mn-lt"/>
                <a:ea typeface="+mn-ea"/>
                <a:cs typeface="+mn-cs"/>
              </a:rPr>
              <a:t>"</a:t>
            </a:r>
            <a:r>
              <a:rPr lang="en-US" sz="1200" i="1" kern="1200" dirty="0">
                <a:solidFill>
                  <a:schemeClr val="tx1"/>
                </a:solidFill>
                <a:effectLst/>
                <a:latin typeface="+mn-lt"/>
                <a:ea typeface="+mn-ea"/>
                <a:cs typeface="+mn-cs"/>
              </a:rPr>
              <a:t>Working software over comprehensive documentation."</a:t>
            </a:r>
            <a:endParaRPr lang="en-US" sz="1200" kern="1200" dirty="0">
              <a:solidFill>
                <a:schemeClr val="tx1"/>
              </a:solidFill>
              <a:effectLst/>
              <a:latin typeface="+mn-lt"/>
              <a:ea typeface="+mn-ea"/>
              <a:cs typeface="+mn-cs"/>
            </a:endParaRPr>
          </a:p>
          <a:p>
            <a:pPr marL="628650" lvl="1" indent="-171450">
              <a:buFont typeface="Arial" charset="0"/>
              <a:buChar char="•"/>
            </a:pPr>
            <a:r>
              <a:rPr lang="en-US" sz="1200" kern="1200" dirty="0">
                <a:solidFill>
                  <a:schemeClr val="tx1"/>
                </a:solidFill>
                <a:effectLst/>
                <a:latin typeface="+mn-lt"/>
                <a:ea typeface="+mn-ea"/>
                <a:cs typeface="+mn-cs"/>
              </a:rPr>
              <a:t>"</a:t>
            </a:r>
            <a:r>
              <a:rPr lang="en-US" sz="1200" i="1" kern="1200" dirty="0">
                <a:solidFill>
                  <a:schemeClr val="tx1"/>
                </a:solidFill>
                <a:effectLst/>
                <a:latin typeface="+mn-lt"/>
                <a:ea typeface="+mn-ea"/>
                <a:cs typeface="+mn-cs"/>
              </a:rPr>
              <a:t>Customer collaboration over contract negotiation." </a:t>
            </a:r>
            <a:endParaRPr lang="en-US" sz="1200" kern="1200" dirty="0">
              <a:solidFill>
                <a:schemeClr val="tx1"/>
              </a:solidFill>
              <a:effectLst/>
              <a:latin typeface="+mn-lt"/>
              <a:ea typeface="+mn-ea"/>
              <a:cs typeface="+mn-cs"/>
            </a:endParaRPr>
          </a:p>
          <a:p>
            <a:pPr marL="628650" lvl="1" indent="-171450">
              <a:buFont typeface="Arial" charset="0"/>
              <a:buChar char="•"/>
            </a:pPr>
            <a:r>
              <a:rPr lang="en-US" sz="1200" kern="1200" dirty="0">
                <a:solidFill>
                  <a:schemeClr val="tx1"/>
                </a:solidFill>
                <a:effectLst/>
                <a:latin typeface="+mn-lt"/>
                <a:ea typeface="+mn-ea"/>
                <a:cs typeface="+mn-cs"/>
              </a:rPr>
              <a:t>And "</a:t>
            </a:r>
            <a:r>
              <a:rPr lang="en-US" sz="1200" i="1" kern="1200" dirty="0">
                <a:solidFill>
                  <a:schemeClr val="tx1"/>
                </a:solidFill>
                <a:effectLst/>
                <a:latin typeface="+mn-lt"/>
                <a:ea typeface="+mn-ea"/>
                <a:cs typeface="+mn-cs"/>
              </a:rPr>
              <a:t>Responding to change over following a plan."</a:t>
            </a: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F0EB2F42-7EB3-426A-AE0F-BE645EFDC311}" type="slidenum">
              <a:rPr lang="en-US" smtClean="0"/>
              <a:pPr/>
              <a:t>10</a:t>
            </a:fld>
            <a:endParaRPr lang="en-US" dirty="0"/>
          </a:p>
        </p:txBody>
      </p:sp>
    </p:spTree>
    <p:extLst>
      <p:ext uri="{BB962C8B-B14F-4D97-AF65-F5344CB8AC3E}">
        <p14:creationId xmlns:p14="http://schemas.microsoft.com/office/powerpoint/2010/main" val="34487067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So let's discuss the Lean-Agile principles that underlie SAFe.</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Read through each of the principles on the slide]</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We don't have time in presentation to drill into each of these, but if you head down the SAFe journey, it will be important to learn why these principles are so critical to a successful implementation of SAFe.</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y are so important because principles trump practices.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So if we're struggling with a practice, we're going to return to these basic principles to make sure that we're trying to build a system and an implementation that is as Lean and Agile as possible. </a:t>
            </a:r>
          </a:p>
          <a:p>
            <a:endParaRPr lang="en-US" dirty="0"/>
          </a:p>
          <a:p>
            <a:r>
              <a:rPr lang="en-US" dirty="0"/>
              <a:t>You can learn more about SAFe Lean-Agile Principles at </a:t>
            </a:r>
            <a:r>
              <a:rPr lang="en-US" b="1" dirty="0"/>
              <a:t>http://</a:t>
            </a:r>
            <a:r>
              <a:rPr lang="en-US" b="1" dirty="0" err="1"/>
              <a:t>www.scaledagileframework.com</a:t>
            </a:r>
            <a:r>
              <a:rPr lang="en-US" b="1" dirty="0"/>
              <a:t>/safe-lean-agile-principles</a:t>
            </a:r>
            <a:r>
              <a:rPr lang="en-US" dirty="0"/>
              <a:t>.</a:t>
            </a:r>
          </a:p>
        </p:txBody>
      </p:sp>
      <p:sp>
        <p:nvSpPr>
          <p:cNvPr id="4" name="Slide Number Placeholder 3"/>
          <p:cNvSpPr>
            <a:spLocks noGrp="1"/>
          </p:cNvSpPr>
          <p:nvPr>
            <p:ph type="sldNum" sz="quarter" idx="10"/>
          </p:nvPr>
        </p:nvSpPr>
        <p:spPr/>
        <p:txBody>
          <a:bodyPr/>
          <a:lstStyle/>
          <a:p>
            <a:fld id="{F0EB2F42-7EB3-426A-AE0F-BE645EFDC311}" type="slidenum">
              <a:rPr lang="en-US" smtClean="0"/>
              <a:pPr/>
              <a:t>11</a:t>
            </a:fld>
            <a:endParaRPr lang="en-US" dirty="0"/>
          </a:p>
        </p:txBody>
      </p:sp>
    </p:spTree>
    <p:extLst>
      <p:ext uri="{BB962C8B-B14F-4D97-AF65-F5344CB8AC3E}">
        <p14:creationId xmlns:p14="http://schemas.microsoft.com/office/powerpoint/2010/main" val="108064254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3" descr="4.5-PPT-Master-Background-Textures_01-Cover-Blue.jp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9168384" cy="5157216"/>
          </a:xfrm>
          <a:prstGeom prst="rect">
            <a:avLst/>
          </a:prstGeom>
        </p:spPr>
      </p:pic>
      <p:sp>
        <p:nvSpPr>
          <p:cNvPr id="5123" name="Rectangle 3"/>
          <p:cNvSpPr>
            <a:spLocks noGrp="1" noChangeArrowheads="1"/>
          </p:cNvSpPr>
          <p:nvPr>
            <p:ph type="ctrTitle"/>
          </p:nvPr>
        </p:nvSpPr>
        <p:spPr>
          <a:xfrm>
            <a:off x="471842" y="604648"/>
            <a:ext cx="8320501" cy="992981"/>
          </a:xfrm>
          <a:solidFill>
            <a:schemeClr val="bg1">
              <a:alpha val="0"/>
            </a:schemeClr>
          </a:solidFill>
          <a:ln>
            <a:solidFill>
              <a:schemeClr val="bg1">
                <a:alpha val="0"/>
              </a:schemeClr>
            </a:solidFill>
          </a:ln>
          <a:effectLst/>
        </p:spPr>
        <p:txBody>
          <a:bodyPr tIns="45720" anchor="b" anchorCtr="0">
            <a:noAutofit/>
          </a:bodyPr>
          <a:lstStyle>
            <a:lvl1pPr algn="l" rtl="0" eaLnBrk="1" fontAlgn="base" hangingPunct="1">
              <a:spcBef>
                <a:spcPct val="0"/>
              </a:spcBef>
              <a:spcAft>
                <a:spcPct val="0"/>
              </a:spcAft>
              <a:defRPr lang="en-US" altLang="en-US" sz="3400" b="0" i="0" dirty="0">
                <a:solidFill>
                  <a:schemeClr val="bg1"/>
                </a:solidFill>
                <a:latin typeface="+mj-lt"/>
                <a:ea typeface="+mj-ea"/>
                <a:cs typeface="+mj-cs"/>
              </a:defRPr>
            </a:lvl1pPr>
          </a:lstStyle>
          <a:p>
            <a:r>
              <a:rPr lang="en-US" altLang="en-US"/>
              <a:t>Click to edit Master title style</a:t>
            </a:r>
            <a:endParaRPr lang="en-US" altLang="en-US" dirty="0"/>
          </a:p>
        </p:txBody>
      </p:sp>
      <p:sp>
        <p:nvSpPr>
          <p:cNvPr id="5124" name="Rectangle 4"/>
          <p:cNvSpPr>
            <a:spLocks noGrp="1" noChangeArrowheads="1"/>
          </p:cNvSpPr>
          <p:nvPr>
            <p:ph type="subTitle" idx="1"/>
          </p:nvPr>
        </p:nvSpPr>
        <p:spPr>
          <a:xfrm>
            <a:off x="471843" y="1626489"/>
            <a:ext cx="8320500" cy="392415"/>
          </a:xfrm>
          <a:solidFill>
            <a:schemeClr val="bg1">
              <a:alpha val="0"/>
            </a:schemeClr>
          </a:solidFill>
          <a:ln>
            <a:solidFill>
              <a:schemeClr val="bg1">
                <a:alpha val="0"/>
              </a:schemeClr>
            </a:solidFill>
          </a:ln>
          <a:effectLst/>
        </p:spPr>
        <p:txBody>
          <a:bodyPr>
            <a:noAutofit/>
          </a:bodyPr>
          <a:lstStyle>
            <a:lvl1pPr marL="0" indent="0" algn="l" rtl="0" eaLnBrk="1" fontAlgn="base" hangingPunct="1">
              <a:spcBef>
                <a:spcPts val="0"/>
              </a:spcBef>
              <a:spcAft>
                <a:spcPts val="150"/>
              </a:spcAft>
              <a:buClr>
                <a:schemeClr val="tx2"/>
              </a:buClr>
              <a:buSzPct val="100000"/>
              <a:buFont typeface="Wingdings" pitchFamily="2" charset="2"/>
              <a:buNone/>
              <a:defRPr lang="en-US" altLang="en-US" sz="2200" b="0" dirty="0">
                <a:solidFill>
                  <a:schemeClr val="bg2"/>
                </a:solidFill>
                <a:latin typeface="+mn-lt"/>
                <a:ea typeface="+mn-ea"/>
                <a:cs typeface="+mn-cs"/>
              </a:defRPr>
            </a:lvl1pPr>
          </a:lstStyle>
          <a:p>
            <a:r>
              <a:rPr lang="en-US" altLang="en-US"/>
              <a:t>Click to edit Master subtitle style</a:t>
            </a:r>
            <a:endParaRPr lang="en-US" altLang="en-US" dirty="0"/>
          </a:p>
        </p:txBody>
      </p:sp>
      <p:sp>
        <p:nvSpPr>
          <p:cNvPr id="11" name="TextBox 10"/>
          <p:cNvSpPr txBox="1"/>
          <p:nvPr userDrawn="1"/>
        </p:nvSpPr>
        <p:spPr>
          <a:xfrm>
            <a:off x="6684986" y="4861904"/>
            <a:ext cx="2107357" cy="207749"/>
          </a:xfrm>
          <a:prstGeom prst="rect">
            <a:avLst/>
          </a:prstGeom>
          <a:noFill/>
        </p:spPr>
        <p:txBody>
          <a:bodyPr wrap="square" rtlCol="0">
            <a:spAutoFit/>
          </a:bodyPr>
          <a:lstStyle/>
          <a:p>
            <a:pPr algn="r"/>
            <a:r>
              <a:rPr lang="en-US" sz="750" dirty="0">
                <a:solidFill>
                  <a:schemeClr val="tx1">
                    <a:lumMod val="60000"/>
                    <a:lumOff val="40000"/>
                  </a:schemeClr>
                </a:solidFill>
                <a:latin typeface="+mn-lt"/>
                <a:cs typeface="+mn-cs"/>
              </a:rPr>
              <a:t>© Scaled Agile, Inc.</a:t>
            </a:r>
          </a:p>
        </p:txBody>
      </p:sp>
      <p:pic>
        <p:nvPicPr>
          <p:cNvPr id="15" name="Picture 14" descr="PPT-sized.png"/>
          <p:cNvPicPr>
            <a:picLocks/>
          </p:cNvPicPr>
          <p:nvPr userDrawn="1"/>
        </p:nvPicPr>
        <p:blipFill>
          <a:blip r:embed="rId3" cstate="print">
            <a:extLst>
              <a:ext uri="{28A0092B-C50C-407E-A947-70E740481C1C}">
                <a14:useLocalDpi xmlns:a14="http://schemas.microsoft.com/office/drawing/2010/main"/>
              </a:ext>
            </a:extLst>
          </a:blip>
          <a:stretch>
            <a:fillRect/>
          </a:stretch>
        </p:blipFill>
        <p:spPr>
          <a:xfrm>
            <a:off x="6700947" y="4591426"/>
            <a:ext cx="2133600" cy="243200"/>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Variation-Background Only Dark">
    <p:spTree>
      <p:nvGrpSpPr>
        <p:cNvPr id="1" name=""/>
        <p:cNvGrpSpPr/>
        <p:nvPr/>
      </p:nvGrpSpPr>
      <p:grpSpPr>
        <a:xfrm>
          <a:off x="0" y="0"/>
          <a:ext cx="0" cy="0"/>
          <a:chOff x="0" y="0"/>
          <a:chExt cx="0" cy="0"/>
        </a:xfrm>
      </p:grpSpPr>
      <p:sp>
        <p:nvSpPr>
          <p:cNvPr id="44" name="TextBox 43"/>
          <p:cNvSpPr txBox="1"/>
          <p:nvPr userDrawn="1"/>
        </p:nvSpPr>
        <p:spPr>
          <a:xfrm>
            <a:off x="8015592" y="4800600"/>
            <a:ext cx="654080" cy="271393"/>
          </a:xfrm>
          <a:prstGeom prst="rect">
            <a:avLst/>
          </a:prstGeom>
          <a:solidFill>
            <a:schemeClr val="bg1">
              <a:alpha val="0"/>
            </a:schemeClr>
          </a:solidFill>
          <a:ln>
            <a:solidFill>
              <a:schemeClr val="bg1">
                <a:alpha val="0"/>
              </a:schemeClr>
            </a:solidFill>
          </a:ln>
        </p:spPr>
        <p:txBody>
          <a:bodyPr wrap="square" lIns="0" tIns="0" rIns="0" bIns="0" rtlCol="0" anchor="b" anchorCtr="0">
            <a:no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aseline="0" dirty="0">
                <a:solidFill>
                  <a:schemeClr val="bg1"/>
                </a:solidFill>
              </a:rPr>
              <a:t>1.</a:t>
            </a:r>
            <a:fld id="{ABA28972-6D48-4F49-8D9E-11DAC31E3DF7}" type="slidenum">
              <a:rPr lang="en-US" sz="900" smtClean="0">
                <a:solidFill>
                  <a:schemeClr val="bg1"/>
                </a:solidFill>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900" dirty="0">
              <a:solidFill>
                <a:schemeClr val="bg1"/>
              </a:solidFill>
            </a:endParaRPr>
          </a:p>
        </p:txBody>
      </p:sp>
      <p:pic>
        <p:nvPicPr>
          <p:cNvPr id="4" name="Picture 3" descr="4.5-PPTBackgrounds_Blue-patter-Full-Screen.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168383" cy="5157216"/>
          </a:xfrm>
          <a:prstGeom prst="rect">
            <a:avLst/>
          </a:prstGeom>
        </p:spPr>
      </p:pic>
      <p:sp>
        <p:nvSpPr>
          <p:cNvPr id="45" name="TextBox 44"/>
          <p:cNvSpPr txBox="1"/>
          <p:nvPr userDrawn="1"/>
        </p:nvSpPr>
        <p:spPr>
          <a:xfrm>
            <a:off x="1509160" y="4904100"/>
            <a:ext cx="1310822" cy="184666"/>
          </a:xfrm>
          <a:prstGeom prst="rect">
            <a:avLst/>
          </a:prstGeom>
          <a:solidFill>
            <a:schemeClr val="bg1">
              <a:alpha val="0"/>
            </a:schemeClr>
          </a:solidFill>
          <a:ln>
            <a:solidFill>
              <a:schemeClr val="bg1">
                <a:alpha val="0"/>
              </a:schemeClr>
            </a:solidFill>
          </a:ln>
        </p:spPr>
        <p:txBody>
          <a:bodyPr wrap="square" rtlCol="0">
            <a:spAutoFit/>
          </a:bodyPr>
          <a:lstStyle/>
          <a:p>
            <a:r>
              <a:rPr lang="en-US" sz="600" dirty="0">
                <a:solidFill>
                  <a:schemeClr val="bg1"/>
                </a:solidFill>
                <a:latin typeface="+mn-lt"/>
                <a:cs typeface="+mn-cs"/>
              </a:rPr>
              <a:t>© Scaled Agile, Inc</a:t>
            </a:r>
            <a:r>
              <a:rPr lang="en-US" sz="600">
                <a:solidFill>
                  <a:schemeClr val="bg1"/>
                </a:solidFill>
                <a:latin typeface="+mn-lt"/>
                <a:cs typeface="+mn-cs"/>
              </a:rPr>
              <a:t>. </a:t>
            </a:r>
            <a:endParaRPr lang="en-US" sz="600" dirty="0">
              <a:solidFill>
                <a:schemeClr val="bg1"/>
              </a:solidFill>
              <a:latin typeface="+mn-lt"/>
              <a:cs typeface="+mn-cs"/>
            </a:endParaRPr>
          </a:p>
        </p:txBody>
      </p:sp>
      <p:pic>
        <p:nvPicPr>
          <p:cNvPr id="46" name="Picture 45" descr="PPT-sized.png"/>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26460" y="4934417"/>
            <a:ext cx="1117600" cy="127127"/>
          </a:xfrm>
          <a:prstGeom prst="rect">
            <a:avLst/>
          </a:prstGeom>
        </p:spPr>
      </p:pic>
    </p:spTree>
    <p:extLst>
      <p:ext uri="{BB962C8B-B14F-4D97-AF65-F5344CB8AC3E}">
        <p14:creationId xmlns:p14="http://schemas.microsoft.com/office/powerpoint/2010/main" val="162594144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ariation-Background Only Light">
    <p:spTree>
      <p:nvGrpSpPr>
        <p:cNvPr id="1" name=""/>
        <p:cNvGrpSpPr/>
        <p:nvPr/>
      </p:nvGrpSpPr>
      <p:grpSpPr>
        <a:xfrm>
          <a:off x="0" y="0"/>
          <a:ext cx="0" cy="0"/>
          <a:chOff x="0" y="0"/>
          <a:chExt cx="0" cy="0"/>
        </a:xfrm>
      </p:grpSpPr>
      <p:sp>
        <p:nvSpPr>
          <p:cNvPr id="8" name="TextBox 7"/>
          <p:cNvSpPr txBox="1"/>
          <p:nvPr userDrawn="1"/>
        </p:nvSpPr>
        <p:spPr>
          <a:xfrm>
            <a:off x="1509160" y="4904100"/>
            <a:ext cx="1890174" cy="184666"/>
          </a:xfrm>
          <a:prstGeom prst="rect">
            <a:avLst/>
          </a:prstGeom>
          <a:noFill/>
        </p:spPr>
        <p:txBody>
          <a:bodyPr wrap="square" rtlCol="0">
            <a:spAutoFit/>
          </a:bodyPr>
          <a:lstStyle/>
          <a:p>
            <a:r>
              <a:rPr lang="en-US" sz="600" dirty="0">
                <a:solidFill>
                  <a:schemeClr val="bg1">
                    <a:lumMod val="50000"/>
                  </a:schemeClr>
                </a:solidFill>
                <a:latin typeface="+mn-lt"/>
                <a:cs typeface="+mn-cs"/>
              </a:rPr>
              <a:t>© 2017 Scaled Agile, Inc. All Rights Reserved.</a:t>
            </a:r>
          </a:p>
        </p:txBody>
      </p:sp>
      <p:pic>
        <p:nvPicPr>
          <p:cNvPr id="9" name="Picture 8" descr="PPT-sized.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26460" y="4934417"/>
            <a:ext cx="1117600" cy="127127"/>
          </a:xfrm>
          <a:prstGeom prst="rect">
            <a:avLst/>
          </a:prstGeom>
        </p:spPr>
      </p:pic>
      <p:sp>
        <p:nvSpPr>
          <p:cNvPr id="10" name="TextBox 9"/>
          <p:cNvSpPr txBox="1"/>
          <p:nvPr userDrawn="1"/>
        </p:nvSpPr>
        <p:spPr>
          <a:xfrm>
            <a:off x="8015592" y="4800600"/>
            <a:ext cx="654080" cy="271393"/>
          </a:xfrm>
          <a:prstGeom prst="rect">
            <a:avLst/>
          </a:prstGeom>
          <a:solidFill>
            <a:schemeClr val="bg1">
              <a:alpha val="0"/>
            </a:schemeClr>
          </a:solidFill>
          <a:ln>
            <a:solidFill>
              <a:schemeClr val="bg1">
                <a:alpha val="0"/>
              </a:schemeClr>
            </a:solidFill>
          </a:ln>
        </p:spPr>
        <p:txBody>
          <a:bodyPr wrap="square" lIns="0" tIns="0" rIns="0" bIns="0" rtlCol="0" anchor="b" anchorCtr="0">
            <a:no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aseline="0" dirty="0">
                <a:solidFill>
                  <a:schemeClr val="tx1">
                    <a:lumMod val="65000"/>
                    <a:lumOff val="35000"/>
                  </a:schemeClr>
                </a:solidFill>
              </a:rPr>
              <a:t>1.</a:t>
            </a:r>
            <a:fld id="{ABA28972-6D48-4F49-8D9E-11DAC31E3DF7}" type="slidenum">
              <a:rPr lang="en-US" sz="900" smtClean="0">
                <a:solidFill>
                  <a:schemeClr val="tx1">
                    <a:lumMod val="65000"/>
                    <a:lumOff val="35000"/>
                  </a:schemeClr>
                </a:solidFill>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900" dirty="0">
              <a:solidFill>
                <a:schemeClr val="tx1">
                  <a:lumMod val="65000"/>
                  <a:lumOff val="35000"/>
                </a:schemeClr>
              </a:solidFill>
            </a:endParaRPr>
          </a:p>
        </p:txBody>
      </p:sp>
      <p:pic>
        <p:nvPicPr>
          <p:cNvPr id="2" name="Picture 1" descr="4.5-PPTBackgrounds-10.jpg"/>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 y="0"/>
            <a:ext cx="9171432" cy="5164852"/>
          </a:xfrm>
          <a:prstGeom prst="rect">
            <a:avLst/>
          </a:prstGeom>
        </p:spPr>
      </p:pic>
      <p:sp>
        <p:nvSpPr>
          <p:cNvPr id="17" name="TextBox 16"/>
          <p:cNvSpPr txBox="1"/>
          <p:nvPr userDrawn="1"/>
        </p:nvSpPr>
        <p:spPr>
          <a:xfrm>
            <a:off x="1508760" y="4901184"/>
            <a:ext cx="1890174" cy="184666"/>
          </a:xfrm>
          <a:prstGeom prst="rect">
            <a:avLst/>
          </a:prstGeom>
          <a:noFill/>
        </p:spPr>
        <p:txBody>
          <a:bodyPr wrap="square" rtlCol="0">
            <a:spAutoFit/>
          </a:bodyPr>
          <a:lstStyle/>
          <a:p>
            <a:r>
              <a:rPr lang="en-US" sz="600" dirty="0">
                <a:solidFill>
                  <a:schemeClr val="bg1">
                    <a:lumMod val="50000"/>
                  </a:schemeClr>
                </a:solidFill>
                <a:latin typeface="+mn-lt"/>
                <a:cs typeface="+mn-cs"/>
              </a:rPr>
              <a:t>© Scaled Agile, Inc.</a:t>
            </a:r>
          </a:p>
        </p:txBody>
      </p:sp>
      <p:pic>
        <p:nvPicPr>
          <p:cNvPr id="18" name="Picture 17" descr="PPT-sized.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29768" y="4937760"/>
            <a:ext cx="1117600" cy="127127"/>
          </a:xfrm>
          <a:prstGeom prst="rect">
            <a:avLst/>
          </a:prstGeom>
        </p:spPr>
      </p:pic>
    </p:spTree>
    <p:extLst>
      <p:ext uri="{BB962C8B-B14F-4D97-AF65-F5344CB8AC3E}">
        <p14:creationId xmlns:p14="http://schemas.microsoft.com/office/powerpoint/2010/main" val="354458772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Variation-Background Only Dark">
    <p:spTree>
      <p:nvGrpSpPr>
        <p:cNvPr id="1" name=""/>
        <p:cNvGrpSpPr/>
        <p:nvPr/>
      </p:nvGrpSpPr>
      <p:grpSpPr>
        <a:xfrm>
          <a:off x="0" y="0"/>
          <a:ext cx="0" cy="0"/>
          <a:chOff x="0" y="0"/>
          <a:chExt cx="0" cy="0"/>
        </a:xfrm>
      </p:grpSpPr>
      <p:pic>
        <p:nvPicPr>
          <p:cNvPr id="4" name="Picture 3" descr="4.5-PPTBackgrounds_Blue-patter-Full-Screen.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271"/>
            <a:ext cx="9217848" cy="5157216"/>
          </a:xfrm>
          <a:prstGeom prst="rect">
            <a:avLst/>
          </a:prstGeom>
        </p:spPr>
      </p:pic>
      <p:pic>
        <p:nvPicPr>
          <p:cNvPr id="18" name="Picture 17" descr="FlipChart-newShadow.png"/>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06874" y="723582"/>
            <a:ext cx="8691586" cy="4522206"/>
          </a:xfrm>
          <a:prstGeom prst="rect">
            <a:avLst/>
          </a:prstGeom>
        </p:spPr>
      </p:pic>
      <p:sp>
        <p:nvSpPr>
          <p:cNvPr id="10" name="Content Placeholder 4"/>
          <p:cNvSpPr>
            <a:spLocks noGrp="1"/>
          </p:cNvSpPr>
          <p:nvPr>
            <p:ph sz="quarter" idx="10"/>
          </p:nvPr>
        </p:nvSpPr>
        <p:spPr>
          <a:xfrm>
            <a:off x="583948" y="1975007"/>
            <a:ext cx="7874252" cy="2776944"/>
          </a:xfrm>
        </p:spPr>
        <p:txBody>
          <a:bodyPr/>
          <a:lstStyle>
            <a:lvl1pPr>
              <a:spcBef>
                <a:spcPts val="400"/>
              </a:spcBef>
              <a:spcAft>
                <a:spcPts val="400"/>
              </a:spcAft>
              <a:defRPr sz="1600"/>
            </a:lvl1pPr>
            <a:lvl2pPr>
              <a:spcBef>
                <a:spcPts val="600"/>
              </a:spcBef>
              <a:spcAft>
                <a:spcPts val="600"/>
              </a:spcAft>
              <a:defRPr sz="1600"/>
            </a:lvl2pPr>
            <a:lvl3pPr>
              <a:defRPr sz="1350"/>
            </a:lvl3pPr>
          </a:lstStyle>
          <a:p>
            <a:pPr lvl="0"/>
            <a:r>
              <a:rPr lang="en-US"/>
              <a:t>Click to edit Master text styles</a:t>
            </a:r>
          </a:p>
          <a:p>
            <a:pPr lvl="1"/>
            <a:r>
              <a:rPr lang="en-US"/>
              <a:t>Second level</a:t>
            </a:r>
          </a:p>
        </p:txBody>
      </p:sp>
      <p:sp>
        <p:nvSpPr>
          <p:cNvPr id="16" name="TextBox 15"/>
          <p:cNvSpPr txBox="1"/>
          <p:nvPr userDrawn="1"/>
        </p:nvSpPr>
        <p:spPr>
          <a:xfrm>
            <a:off x="1509160" y="4904100"/>
            <a:ext cx="1890174" cy="184666"/>
          </a:xfrm>
          <a:prstGeom prst="rect">
            <a:avLst/>
          </a:prstGeom>
          <a:solidFill>
            <a:schemeClr val="bg1">
              <a:alpha val="0"/>
            </a:schemeClr>
          </a:solidFill>
          <a:ln>
            <a:solidFill>
              <a:schemeClr val="bg1">
                <a:alpha val="0"/>
              </a:schemeClr>
            </a:solidFill>
          </a:ln>
        </p:spPr>
        <p:txBody>
          <a:bodyPr wrap="square" rtlCol="0">
            <a:spAutoFit/>
          </a:bodyPr>
          <a:lstStyle/>
          <a:p>
            <a:r>
              <a:rPr lang="en-US" sz="600" dirty="0">
                <a:solidFill>
                  <a:schemeClr val="bg1"/>
                </a:solidFill>
                <a:latin typeface="+mn-lt"/>
                <a:cs typeface="+mn-cs"/>
              </a:rPr>
              <a:t>© Scaled Agile, Inc.</a:t>
            </a:r>
          </a:p>
        </p:txBody>
      </p:sp>
      <p:pic>
        <p:nvPicPr>
          <p:cNvPr id="17" name="Picture 16" descr="PPT-sized.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426460" y="4934417"/>
            <a:ext cx="1117600" cy="127127"/>
          </a:xfrm>
          <a:prstGeom prst="rect">
            <a:avLst/>
          </a:prstGeom>
        </p:spPr>
      </p:pic>
      <p:sp>
        <p:nvSpPr>
          <p:cNvPr id="8" name="Title 1"/>
          <p:cNvSpPr txBox="1">
            <a:spLocks/>
          </p:cNvSpPr>
          <p:nvPr userDrawn="1"/>
        </p:nvSpPr>
        <p:spPr bwMode="auto">
          <a:xfrm>
            <a:off x="408940" y="226905"/>
            <a:ext cx="8176260" cy="401638"/>
          </a:xfrm>
          <a:prstGeom prst="rect">
            <a:avLst/>
          </a:prstGeom>
          <a:solidFill>
            <a:schemeClr val="bg1">
              <a:alpha val="0"/>
            </a:schemeClr>
          </a:solidFill>
          <a:ln w="9525">
            <a:solidFill>
              <a:schemeClr val="bg1">
                <a:alpha val="0"/>
              </a:schemeClr>
            </a:solidFill>
            <a:miter lim="800000"/>
            <a:headEnd/>
            <a:tailEnd/>
          </a:ln>
        </p:spPr>
        <p:txBody>
          <a:bodyPr vert="horz" wrap="square" lIns="0" tIns="0" rIns="0" bIns="0" numCol="1" anchor="t" anchorCtr="0" compatLnSpc="1">
            <a:prstTxWarp prst="textNoShape">
              <a:avLst/>
            </a:prstTxWarp>
            <a:noAutofit/>
          </a:bodyPr>
          <a:lstStyle>
            <a:lvl1pPr algn="l" rtl="0" eaLnBrk="1" fontAlgn="base" hangingPunct="1">
              <a:spcBef>
                <a:spcPct val="0"/>
              </a:spcBef>
              <a:spcAft>
                <a:spcPct val="0"/>
              </a:spcAft>
              <a:defRPr lang="en-US" altLang="en-US" sz="2600" b="0" dirty="0" smtClean="0">
                <a:solidFill>
                  <a:srgbClr val="565656"/>
                </a:solidFill>
                <a:latin typeface="+mj-lt"/>
                <a:ea typeface="+mj-ea"/>
                <a:cs typeface="+mj-cs"/>
              </a:defRPr>
            </a:lvl1pPr>
            <a:lvl2pPr algn="l" rtl="0" eaLnBrk="1" fontAlgn="base" hangingPunct="1">
              <a:spcBef>
                <a:spcPct val="0"/>
              </a:spcBef>
              <a:spcAft>
                <a:spcPct val="0"/>
              </a:spcAft>
              <a:defRPr sz="3200" b="1">
                <a:solidFill>
                  <a:schemeClr val="tx2"/>
                </a:solidFill>
                <a:latin typeface="Arial" charset="0"/>
                <a:cs typeface="Arial" charset="0"/>
              </a:defRPr>
            </a:lvl2pPr>
            <a:lvl3pPr algn="l" rtl="0" eaLnBrk="1" fontAlgn="base" hangingPunct="1">
              <a:spcBef>
                <a:spcPct val="0"/>
              </a:spcBef>
              <a:spcAft>
                <a:spcPct val="0"/>
              </a:spcAft>
              <a:defRPr sz="3200" b="1">
                <a:solidFill>
                  <a:schemeClr val="tx2"/>
                </a:solidFill>
                <a:latin typeface="Arial" charset="0"/>
                <a:cs typeface="Arial" charset="0"/>
              </a:defRPr>
            </a:lvl3pPr>
            <a:lvl4pPr algn="l" rtl="0" eaLnBrk="1" fontAlgn="base" hangingPunct="1">
              <a:spcBef>
                <a:spcPct val="0"/>
              </a:spcBef>
              <a:spcAft>
                <a:spcPct val="0"/>
              </a:spcAft>
              <a:defRPr sz="3200" b="1">
                <a:solidFill>
                  <a:schemeClr val="tx2"/>
                </a:solidFill>
                <a:latin typeface="Arial" charset="0"/>
                <a:cs typeface="Arial" charset="0"/>
              </a:defRPr>
            </a:lvl4pPr>
            <a:lvl5pPr algn="l" rtl="0" eaLnBrk="1" fontAlgn="base" hangingPunct="1">
              <a:spcBef>
                <a:spcPct val="0"/>
              </a:spcBef>
              <a:spcAft>
                <a:spcPct val="0"/>
              </a:spcAft>
              <a:defRPr sz="3200" b="1">
                <a:solidFill>
                  <a:schemeClr val="tx2"/>
                </a:solidFill>
                <a:latin typeface="Arial" charset="0"/>
                <a:cs typeface="Arial" charset="0"/>
              </a:defRPr>
            </a:lvl5pPr>
            <a:lvl6pPr marL="457200" algn="l" rtl="0" eaLnBrk="1" fontAlgn="base" hangingPunct="1">
              <a:spcBef>
                <a:spcPct val="0"/>
              </a:spcBef>
              <a:spcAft>
                <a:spcPct val="0"/>
              </a:spcAft>
              <a:defRPr sz="3200" b="1">
                <a:solidFill>
                  <a:schemeClr val="tx2"/>
                </a:solidFill>
                <a:latin typeface="Arial" charset="0"/>
                <a:cs typeface="Arial" charset="0"/>
              </a:defRPr>
            </a:lvl6pPr>
            <a:lvl7pPr marL="914400" algn="l" rtl="0" eaLnBrk="1" fontAlgn="base" hangingPunct="1">
              <a:spcBef>
                <a:spcPct val="0"/>
              </a:spcBef>
              <a:spcAft>
                <a:spcPct val="0"/>
              </a:spcAft>
              <a:defRPr sz="3200" b="1">
                <a:solidFill>
                  <a:schemeClr val="tx2"/>
                </a:solidFill>
                <a:latin typeface="Arial" charset="0"/>
                <a:cs typeface="Arial" charset="0"/>
              </a:defRPr>
            </a:lvl7pPr>
            <a:lvl8pPr marL="1371600" algn="l" rtl="0" eaLnBrk="1" fontAlgn="base" hangingPunct="1">
              <a:spcBef>
                <a:spcPct val="0"/>
              </a:spcBef>
              <a:spcAft>
                <a:spcPct val="0"/>
              </a:spcAft>
              <a:defRPr sz="3200" b="1">
                <a:solidFill>
                  <a:schemeClr val="tx2"/>
                </a:solidFill>
                <a:latin typeface="Arial" charset="0"/>
                <a:cs typeface="Arial" charset="0"/>
              </a:defRPr>
            </a:lvl8pPr>
            <a:lvl9pPr marL="1828800" algn="l" rtl="0" eaLnBrk="1" fontAlgn="base" hangingPunct="1">
              <a:spcBef>
                <a:spcPct val="0"/>
              </a:spcBef>
              <a:spcAft>
                <a:spcPct val="0"/>
              </a:spcAft>
              <a:defRPr sz="3200" b="1">
                <a:solidFill>
                  <a:schemeClr val="tx2"/>
                </a:solidFill>
                <a:latin typeface="Arial" charset="0"/>
                <a:cs typeface="Arial" charset="0"/>
              </a:defRPr>
            </a:lvl9pPr>
          </a:lstStyle>
          <a:p>
            <a:pPr algn="ctr"/>
            <a:r>
              <a:rPr sz="2800" dirty="0">
                <a:solidFill>
                  <a:srgbClr val="FFFFFF"/>
                </a:solidFill>
              </a:rPr>
              <a:t>Lesson summary</a:t>
            </a:r>
          </a:p>
        </p:txBody>
      </p:sp>
    </p:spTree>
    <p:extLst>
      <p:ext uri="{BB962C8B-B14F-4D97-AF65-F5344CB8AC3E}">
        <p14:creationId xmlns:p14="http://schemas.microsoft.com/office/powerpoint/2010/main" val="35505812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Module title">
    <p:spTree>
      <p:nvGrpSpPr>
        <p:cNvPr id="1" name=""/>
        <p:cNvGrpSpPr/>
        <p:nvPr/>
      </p:nvGrpSpPr>
      <p:grpSpPr>
        <a:xfrm>
          <a:off x="0" y="0"/>
          <a:ext cx="0" cy="0"/>
          <a:chOff x="0" y="0"/>
          <a:chExt cx="0" cy="0"/>
        </a:xfrm>
      </p:grpSpPr>
      <p:pic>
        <p:nvPicPr>
          <p:cNvPr id="14" name="Picture 13" descr="4.5-PPTBackgrounds-10.jp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171432" cy="5164852"/>
          </a:xfrm>
          <a:prstGeom prst="rect">
            <a:avLst/>
          </a:prstGeom>
        </p:spPr>
      </p:pic>
      <p:sp>
        <p:nvSpPr>
          <p:cNvPr id="7" name="Rectangle 6"/>
          <p:cNvSpPr/>
          <p:nvPr userDrawn="1"/>
        </p:nvSpPr>
        <p:spPr bwMode="auto">
          <a:xfrm>
            <a:off x="-1" y="2605366"/>
            <a:ext cx="9198919" cy="1467971"/>
          </a:xfrm>
          <a:prstGeom prst="rect">
            <a:avLst/>
          </a:prstGeom>
          <a:solidFill>
            <a:schemeClr val="accent5">
              <a:alpha val="88000"/>
            </a:schemeClr>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sp>
        <p:nvSpPr>
          <p:cNvPr id="8" name="Text Placeholder 7"/>
          <p:cNvSpPr>
            <a:spLocks noGrp="1"/>
          </p:cNvSpPr>
          <p:nvPr>
            <p:ph type="body" sz="quarter" idx="10" hasCustomPrompt="1"/>
          </p:nvPr>
        </p:nvSpPr>
        <p:spPr>
          <a:xfrm>
            <a:off x="0" y="1171575"/>
            <a:ext cx="9144000" cy="1200150"/>
          </a:xfrm>
          <a:solidFill>
            <a:schemeClr val="bg1">
              <a:alpha val="0"/>
            </a:schemeClr>
          </a:solidFill>
          <a:ln>
            <a:solidFill>
              <a:schemeClr val="bg1">
                <a:alpha val="0"/>
              </a:schemeClr>
            </a:solidFill>
          </a:ln>
        </p:spPr>
        <p:txBody>
          <a:bodyPr anchor="b" anchorCtr="0"/>
          <a:lstStyle>
            <a:lvl1pPr marL="0" indent="0" algn="ctr" rtl="0" eaLnBrk="1" fontAlgn="base" hangingPunct="1">
              <a:spcBef>
                <a:spcPts val="450"/>
              </a:spcBef>
              <a:spcAft>
                <a:spcPts val="450"/>
              </a:spcAft>
              <a:buClr>
                <a:schemeClr val="bg1">
                  <a:lumMod val="65000"/>
                </a:schemeClr>
              </a:buClr>
              <a:buSzPct val="100000"/>
              <a:buFont typeface="Webdings" pitchFamily="18" charset="2"/>
              <a:buNone/>
              <a:defRPr lang="en-US" sz="6000" baseline="0" dirty="0" smtClean="0">
                <a:solidFill>
                  <a:schemeClr val="tx1">
                    <a:alpha val="89000"/>
                  </a:schemeClr>
                </a:solidFill>
                <a:latin typeface="Arial"/>
                <a:ea typeface="+mn-ea"/>
                <a:cs typeface="Arial"/>
              </a:defRPr>
            </a:lvl1pPr>
          </a:lstStyle>
          <a:p>
            <a:pPr lvl="0"/>
            <a:r>
              <a:rPr lang="en-US" dirty="0"/>
              <a:t>Appendix #</a:t>
            </a:r>
          </a:p>
        </p:txBody>
      </p:sp>
      <p:sp>
        <p:nvSpPr>
          <p:cNvPr id="10" name="Text Placeholder 9"/>
          <p:cNvSpPr>
            <a:spLocks noGrp="1"/>
          </p:cNvSpPr>
          <p:nvPr>
            <p:ph type="body" sz="quarter" idx="11" hasCustomPrompt="1"/>
          </p:nvPr>
        </p:nvSpPr>
        <p:spPr>
          <a:xfrm>
            <a:off x="0" y="2625081"/>
            <a:ext cx="9144000" cy="1448256"/>
          </a:xfrm>
          <a:solidFill>
            <a:schemeClr val="bg1">
              <a:alpha val="0"/>
            </a:schemeClr>
          </a:solidFill>
          <a:ln>
            <a:solidFill>
              <a:schemeClr val="bg1">
                <a:alpha val="0"/>
              </a:schemeClr>
            </a:solidFill>
          </a:ln>
        </p:spPr>
        <p:txBody>
          <a:bodyPr anchor="ctr" anchorCtr="0"/>
          <a:lstStyle>
            <a:lvl1pPr marL="0" indent="0" algn="ctr" rtl="0" eaLnBrk="1" fontAlgn="base" hangingPunct="1">
              <a:spcBef>
                <a:spcPct val="0"/>
              </a:spcBef>
              <a:spcAft>
                <a:spcPct val="0"/>
              </a:spcAft>
              <a:buNone/>
              <a:defRPr lang="en-US" altLang="en-US" sz="3600" b="0" dirty="0" smtClean="0">
                <a:solidFill>
                  <a:schemeClr val="bg1"/>
                </a:solidFill>
                <a:latin typeface="Arial"/>
                <a:ea typeface="+mj-ea"/>
                <a:cs typeface="Arial"/>
              </a:defRPr>
            </a:lvl1pPr>
            <a:lvl2pPr algn="ctr" rtl="0" eaLnBrk="1" fontAlgn="base" hangingPunct="1">
              <a:spcBef>
                <a:spcPct val="0"/>
              </a:spcBef>
              <a:spcAft>
                <a:spcPct val="0"/>
              </a:spcAft>
              <a:defRPr lang="en-US" altLang="en-US" sz="3600" b="0" dirty="0" smtClean="0">
                <a:solidFill>
                  <a:schemeClr val="bg1"/>
                </a:solidFill>
                <a:latin typeface="Arial"/>
                <a:ea typeface="+mj-ea"/>
                <a:cs typeface="Arial"/>
              </a:defRPr>
            </a:lvl2pPr>
            <a:lvl3pPr algn="ctr" rtl="0" eaLnBrk="1" fontAlgn="base" hangingPunct="1">
              <a:spcBef>
                <a:spcPct val="0"/>
              </a:spcBef>
              <a:spcAft>
                <a:spcPct val="0"/>
              </a:spcAft>
              <a:defRPr lang="en-US" altLang="en-US" sz="3600" b="0" dirty="0" smtClean="0">
                <a:solidFill>
                  <a:schemeClr val="bg1"/>
                </a:solidFill>
                <a:latin typeface="Arial"/>
                <a:ea typeface="+mj-ea"/>
                <a:cs typeface="Arial"/>
              </a:defRPr>
            </a:lvl3pPr>
            <a:lvl4pPr algn="ctr" rtl="0" eaLnBrk="1" fontAlgn="base" hangingPunct="1">
              <a:spcBef>
                <a:spcPct val="0"/>
              </a:spcBef>
              <a:spcAft>
                <a:spcPct val="0"/>
              </a:spcAft>
              <a:defRPr lang="en-US" altLang="en-US" sz="3600" b="0" dirty="0" smtClean="0">
                <a:solidFill>
                  <a:schemeClr val="bg1"/>
                </a:solidFill>
                <a:latin typeface="Arial"/>
                <a:ea typeface="+mj-ea"/>
                <a:cs typeface="Arial"/>
              </a:defRPr>
            </a:lvl4pPr>
            <a:lvl5pPr algn="ctr" rtl="0" eaLnBrk="1" fontAlgn="base" hangingPunct="1">
              <a:spcBef>
                <a:spcPct val="0"/>
              </a:spcBef>
              <a:spcAft>
                <a:spcPct val="0"/>
              </a:spcAft>
              <a:defRPr lang="en-US" altLang="en-US" sz="3600" b="0" dirty="0" smtClean="0">
                <a:solidFill>
                  <a:schemeClr val="bg1"/>
                </a:solidFill>
                <a:latin typeface="Arial"/>
                <a:ea typeface="+mj-ea"/>
                <a:cs typeface="Arial"/>
              </a:defRPr>
            </a:lvl5pPr>
          </a:lstStyle>
          <a:p>
            <a:pPr lvl="0"/>
            <a:r>
              <a:rPr lang="en-US" dirty="0"/>
              <a:t>Appendix name</a:t>
            </a:r>
          </a:p>
        </p:txBody>
      </p:sp>
      <p:sp>
        <p:nvSpPr>
          <p:cNvPr id="11" name="TextBox 10"/>
          <p:cNvSpPr txBox="1"/>
          <p:nvPr userDrawn="1"/>
        </p:nvSpPr>
        <p:spPr>
          <a:xfrm>
            <a:off x="1544060" y="4917235"/>
            <a:ext cx="1890174" cy="184666"/>
          </a:xfrm>
          <a:prstGeom prst="rect">
            <a:avLst/>
          </a:prstGeom>
          <a:solidFill>
            <a:schemeClr val="bg1">
              <a:alpha val="0"/>
            </a:schemeClr>
          </a:solidFill>
          <a:ln>
            <a:solidFill>
              <a:schemeClr val="bg1">
                <a:alpha val="0"/>
              </a:schemeClr>
            </a:solidFill>
          </a:ln>
        </p:spPr>
        <p:txBody>
          <a:bodyPr wrap="square" rtlCol="0">
            <a:spAutoFit/>
          </a:bodyPr>
          <a:lstStyle/>
          <a:p>
            <a:r>
              <a:rPr lang="en-US" sz="600" dirty="0">
                <a:solidFill>
                  <a:schemeClr val="tx1">
                    <a:lumMod val="60000"/>
                    <a:lumOff val="40000"/>
                  </a:schemeClr>
                </a:solidFill>
                <a:latin typeface="+mn-lt"/>
                <a:cs typeface="+mn-cs"/>
              </a:rPr>
              <a:t>© Scaled Agile, Inc.</a:t>
            </a:r>
          </a:p>
        </p:txBody>
      </p:sp>
      <p:pic>
        <p:nvPicPr>
          <p:cNvPr id="13" name="Picture 12" descr="PPT-sized.png"/>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26460" y="4934417"/>
            <a:ext cx="1117600" cy="127127"/>
          </a:xfrm>
          <a:prstGeom prst="rect">
            <a:avLst/>
          </a:prstGeom>
        </p:spPr>
      </p:pic>
    </p:spTree>
    <p:extLst>
      <p:ext uri="{BB962C8B-B14F-4D97-AF65-F5344CB8AC3E}">
        <p14:creationId xmlns:p14="http://schemas.microsoft.com/office/powerpoint/2010/main" val="9018576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5" name="Picture 4" descr="4.5-PPTBackgrounds_Test-Yellow-FullFrame.jp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2" name="Title 1"/>
          <p:cNvSpPr>
            <a:spLocks noGrp="1"/>
          </p:cNvSpPr>
          <p:nvPr>
            <p:ph type="title" hasCustomPrompt="1"/>
          </p:nvPr>
        </p:nvSpPr>
        <p:spPr>
          <a:xfrm>
            <a:off x="0" y="1683875"/>
            <a:ext cx="9144000" cy="1775750"/>
          </a:xfrm>
          <a:solidFill>
            <a:schemeClr val="bg1"/>
          </a:solidFill>
          <a:ln w="9525">
            <a:solidFill>
              <a:schemeClr val="bg1">
                <a:alpha val="0"/>
              </a:schemeClr>
            </a:solidFill>
            <a:miter lim="800000"/>
            <a:headEnd/>
            <a:tailEnd/>
          </a:ln>
        </p:spPr>
        <p:txBody>
          <a:bodyPr vert="horz" wrap="square" lIns="91440" tIns="45720" rIns="91440" bIns="45720" numCol="1" anchor="ctr" anchorCtr="0" compatLnSpc="1">
            <a:prstTxWarp prst="textNoShape">
              <a:avLst/>
            </a:prstTxWarp>
            <a:noAutofit/>
          </a:bodyPr>
          <a:lstStyle>
            <a:lvl1pPr algn="ctr" rtl="0" eaLnBrk="0" fontAlgn="base" hangingPunct="0">
              <a:spcBef>
                <a:spcPct val="0"/>
              </a:spcBef>
              <a:spcAft>
                <a:spcPct val="0"/>
              </a:spcAft>
              <a:defRPr lang="en-US" altLang="en-US" sz="3000" b="0" cap="none" baseline="0" dirty="0">
                <a:solidFill>
                  <a:schemeClr val="tx1"/>
                </a:solidFill>
                <a:latin typeface="+mj-lt"/>
                <a:ea typeface="+mj-ea"/>
                <a:cs typeface="+mj-cs"/>
              </a:defRPr>
            </a:lvl1pPr>
          </a:lstStyle>
          <a:p>
            <a:r>
              <a:rPr lang="en-US" dirty="0"/>
              <a:t>Section Title</a:t>
            </a:r>
          </a:p>
        </p:txBody>
      </p:sp>
      <p:sp>
        <p:nvSpPr>
          <p:cNvPr id="6" name="TextBox 5"/>
          <p:cNvSpPr txBox="1"/>
          <p:nvPr userDrawn="1"/>
        </p:nvSpPr>
        <p:spPr>
          <a:xfrm>
            <a:off x="1544060" y="4917235"/>
            <a:ext cx="1890174" cy="184666"/>
          </a:xfrm>
          <a:prstGeom prst="rect">
            <a:avLst/>
          </a:prstGeom>
          <a:solidFill>
            <a:schemeClr val="bg1">
              <a:alpha val="0"/>
            </a:schemeClr>
          </a:solidFill>
          <a:ln>
            <a:solidFill>
              <a:schemeClr val="bg1">
                <a:alpha val="0"/>
              </a:schemeClr>
            </a:solidFill>
          </a:ln>
        </p:spPr>
        <p:txBody>
          <a:bodyPr wrap="square" rtlCol="0">
            <a:spAutoFit/>
          </a:bodyPr>
          <a:lstStyle/>
          <a:p>
            <a:r>
              <a:rPr lang="en-US" sz="600" dirty="0">
                <a:solidFill>
                  <a:schemeClr val="bg1"/>
                </a:solidFill>
                <a:latin typeface="+mn-lt"/>
                <a:cs typeface="+mn-cs"/>
              </a:rPr>
              <a:t>©</a:t>
            </a:r>
            <a:r>
              <a:rPr lang="en-US" sz="600" baseline="0" dirty="0">
                <a:solidFill>
                  <a:schemeClr val="bg1"/>
                </a:solidFill>
                <a:latin typeface="+mn-lt"/>
                <a:cs typeface="+mn-cs"/>
              </a:rPr>
              <a:t> </a:t>
            </a:r>
            <a:r>
              <a:rPr lang="en-US" sz="600" dirty="0">
                <a:solidFill>
                  <a:schemeClr val="bg1"/>
                </a:solidFill>
                <a:latin typeface="+mn-lt"/>
                <a:cs typeface="+mn-cs"/>
              </a:rPr>
              <a:t>Scaled Agile, Inc.</a:t>
            </a:r>
          </a:p>
        </p:txBody>
      </p:sp>
      <p:pic>
        <p:nvPicPr>
          <p:cNvPr id="8" name="Picture 7" descr="PPT-sized.png"/>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26460" y="4934417"/>
            <a:ext cx="1117600" cy="127127"/>
          </a:xfrm>
          <a:prstGeom prst="rect">
            <a:avLst/>
          </a:prstGeom>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71450"/>
            <a:ext cx="8227060" cy="337566"/>
          </a:xfrm>
          <a:noFill/>
          <a:ln w="9525">
            <a:noFill/>
            <a:miter lim="800000"/>
            <a:headEnd/>
            <a:tailEnd/>
          </a:ln>
        </p:spPr>
        <p:txBody>
          <a:bodyPr vert="horz" wrap="square" lIns="0" tIns="0" rIns="0" bIns="0" numCol="1" anchor="t" anchorCtr="0" compatLnSpc="1">
            <a:prstTxWarp prst="textNoShape">
              <a:avLst/>
            </a:prstTxWarp>
            <a:noAutofit/>
          </a:bodyPr>
          <a:lstStyle>
            <a:lvl1pPr>
              <a:defRPr lang="en-US" altLang="en-US" sz="2400" b="0" dirty="0">
                <a:solidFill>
                  <a:schemeClr val="tx1"/>
                </a:solidFill>
                <a:latin typeface="+mj-lt"/>
                <a:ea typeface="+mj-ea"/>
                <a:cs typeface="+mj-cs"/>
              </a:defRPr>
            </a:lvl1pPr>
          </a:lstStyle>
          <a:p>
            <a:pPr lvl="0" algn="l" rtl="0" eaLnBrk="1" fontAlgn="base" hangingPunct="1">
              <a:spcBef>
                <a:spcPct val="0"/>
              </a:spcBef>
              <a:spcAft>
                <a:spcPct val="0"/>
              </a:spcAft>
            </a:pPr>
            <a:r>
              <a:rPr lang="en-US"/>
              <a:t>Click to edit Master title style</a:t>
            </a:r>
            <a:endParaRPr lang="en-US" dirty="0"/>
          </a:p>
        </p:txBody>
      </p:sp>
      <p:sp>
        <p:nvSpPr>
          <p:cNvPr id="3" name="Content Placeholder 2"/>
          <p:cNvSpPr>
            <a:spLocks noGrp="1"/>
          </p:cNvSpPr>
          <p:nvPr>
            <p:ph idx="1"/>
          </p:nvPr>
        </p:nvSpPr>
        <p:spPr>
          <a:xfrm>
            <a:off x="394136" y="967054"/>
            <a:ext cx="8343900" cy="3838575"/>
          </a:xfrm>
        </p:spPr>
        <p:txBody>
          <a:bodyPr wrap="square">
            <a:noAutofit/>
          </a:bodyPr>
          <a:lstStyle>
            <a:lvl1pPr>
              <a:spcBef>
                <a:spcPts val="800"/>
              </a:spcBef>
              <a:spcAft>
                <a:spcPts val="800"/>
              </a:spcAft>
              <a:defRPr sz="2000">
                <a:solidFill>
                  <a:schemeClr val="tx1"/>
                </a:solidFill>
              </a:defRPr>
            </a:lvl1pPr>
            <a:lvl2pPr>
              <a:spcBef>
                <a:spcPts val="600"/>
              </a:spcBef>
              <a:spcAft>
                <a:spcPts val="600"/>
              </a:spcAft>
              <a:buSzPct val="117000"/>
              <a:buFont typeface="Arial Black" pitchFamily="34" charset="0"/>
              <a:buChar char="–"/>
              <a:defRPr sz="1800">
                <a:solidFill>
                  <a:schemeClr val="tx1"/>
                </a:solidFill>
              </a:defRPr>
            </a:lvl2pPr>
            <a:lvl3pPr marL="771525" indent="-171450">
              <a:spcBef>
                <a:spcPts val="600"/>
              </a:spcBef>
              <a:spcAft>
                <a:spcPts val="600"/>
              </a:spcAft>
              <a:buSzPct val="117000"/>
              <a:buFont typeface="Lucida Grande"/>
              <a:buChar char="-"/>
              <a:defRPr sz="1800">
                <a:solidFill>
                  <a:schemeClr val="tx1"/>
                </a:solidFill>
              </a:defRPr>
            </a:lvl3pPr>
            <a:lvl4pPr>
              <a:buSzPct val="110000"/>
              <a:buFont typeface="Arial Black" pitchFamily="34" charset="0"/>
              <a:buChar char="–"/>
              <a:defRPr/>
            </a:lvl4pPr>
            <a:lvl5pPr>
              <a:buSzPct val="110000"/>
              <a:buFont typeface="Arial Black" pitchFamily="34" charset="0"/>
              <a:buChar char="–"/>
              <a:defRPr sz="1200"/>
            </a:lvl5pPr>
          </a:lstStyle>
          <a:p>
            <a:pPr lvl="0"/>
            <a:r>
              <a:rPr lang="en-US" dirty="0"/>
              <a:t>Click to edit Master text styles</a:t>
            </a:r>
          </a:p>
          <a:p>
            <a:pPr lvl="1"/>
            <a:r>
              <a:rPr lang="en-US" dirty="0"/>
              <a:t>Second level</a:t>
            </a:r>
          </a:p>
          <a:p>
            <a:pPr lvl="2"/>
            <a:r>
              <a:rPr lang="en-US" dirty="0"/>
              <a:t>Third level</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71450"/>
            <a:ext cx="8242300" cy="301752"/>
          </a:xfrm>
          <a:noFill/>
          <a:ln w="9525">
            <a:noFill/>
            <a:miter lim="800000"/>
            <a:headEnd/>
            <a:tailEnd/>
          </a:ln>
        </p:spPr>
        <p:txBody>
          <a:bodyPr vert="horz" wrap="square" lIns="0" tIns="0" rIns="0" bIns="0" numCol="1" anchor="t" anchorCtr="0" compatLnSpc="1">
            <a:prstTxWarp prst="textNoShape">
              <a:avLst/>
            </a:prstTxWarp>
            <a:noAutofit/>
          </a:bodyPr>
          <a:lstStyle>
            <a:lvl1pPr algn="l" rtl="0" eaLnBrk="0" fontAlgn="base" hangingPunct="0">
              <a:spcBef>
                <a:spcPct val="0"/>
              </a:spcBef>
              <a:spcAft>
                <a:spcPct val="0"/>
              </a:spcAft>
              <a:defRPr lang="en-US" altLang="en-US" sz="2400" b="0" dirty="0">
                <a:solidFill>
                  <a:schemeClr val="tx1"/>
                </a:solidFill>
                <a:latin typeface="+mj-lt"/>
                <a:ea typeface="+mj-ea"/>
                <a:cs typeface="+mj-cs"/>
              </a:defRPr>
            </a:lvl1pPr>
          </a:lstStyle>
          <a:p>
            <a:pPr lvl="0" algn="l" rtl="0" eaLnBrk="1" fontAlgn="base" hangingPunct="1">
              <a:spcBef>
                <a:spcPct val="0"/>
              </a:spcBef>
              <a:spcAft>
                <a:spcPct val="0"/>
              </a:spcAft>
            </a:pPr>
            <a:r>
              <a:rPr lang="en-US"/>
              <a:t>Click to edit Master title style</a:t>
            </a:r>
            <a:endParaRPr lang="en-US" dirty="0"/>
          </a:p>
        </p:txBody>
      </p:sp>
      <p:sp>
        <p:nvSpPr>
          <p:cNvPr id="3" name="Content Placeholder 2"/>
          <p:cNvSpPr>
            <a:spLocks noGrp="1"/>
          </p:cNvSpPr>
          <p:nvPr>
            <p:ph sz="half" idx="1"/>
          </p:nvPr>
        </p:nvSpPr>
        <p:spPr>
          <a:xfrm>
            <a:off x="394136" y="959171"/>
            <a:ext cx="3886200" cy="3714750"/>
          </a:xfrm>
        </p:spPr>
        <p:txBody>
          <a:bodyPr>
            <a:noAutofit/>
          </a:bodyPr>
          <a:lstStyle>
            <a:lvl1pPr marL="219075" indent="-219075">
              <a:spcBef>
                <a:spcPts val="600"/>
              </a:spcBef>
              <a:spcAft>
                <a:spcPts val="600"/>
              </a:spcAft>
              <a:defRPr sz="1800">
                <a:solidFill>
                  <a:schemeClr val="tx1"/>
                </a:solidFill>
              </a:defRPr>
            </a:lvl1pPr>
            <a:lvl2pPr marL="476250" indent="-171450">
              <a:spcBef>
                <a:spcPts val="600"/>
              </a:spcBef>
              <a:spcAft>
                <a:spcPts val="600"/>
              </a:spcAft>
              <a:defRPr sz="1600">
                <a:solidFill>
                  <a:schemeClr val="tx1"/>
                </a:solidFill>
              </a:defRPr>
            </a:lvl2pPr>
            <a:lvl3pPr marL="685800" indent="-123825">
              <a:spcBef>
                <a:spcPts val="600"/>
              </a:spcBef>
              <a:spcAft>
                <a:spcPts val="600"/>
              </a:spcAft>
              <a:defRPr sz="1600">
                <a:solidFill>
                  <a:schemeClr val="tx1"/>
                </a:solidFill>
              </a:defRPr>
            </a:lvl3pPr>
            <a:lvl4pPr marL="1027510" indent="-170260">
              <a:defRPr sz="1350">
                <a:solidFill>
                  <a:srgbClr val="3C3C3C"/>
                </a:solidFill>
              </a:defRPr>
            </a:lvl4pPr>
            <a:lvl5pPr marL="1246585" indent="-170260">
              <a:defRPr sz="1350">
                <a:solidFill>
                  <a:srgbClr val="3C3C3C"/>
                </a:solidFill>
              </a:defRPr>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p:txBody>
      </p:sp>
      <p:sp>
        <p:nvSpPr>
          <p:cNvPr id="4" name="Content Placeholder 3"/>
          <p:cNvSpPr>
            <a:spLocks noGrp="1"/>
          </p:cNvSpPr>
          <p:nvPr>
            <p:ph sz="half" idx="2"/>
          </p:nvPr>
        </p:nvSpPr>
        <p:spPr>
          <a:xfrm>
            <a:off x="4737536" y="959171"/>
            <a:ext cx="3886200" cy="3714750"/>
          </a:xfrm>
        </p:spPr>
        <p:txBody>
          <a:bodyPr>
            <a:noAutofit/>
          </a:bodyPr>
          <a:lstStyle>
            <a:lvl1pPr marL="219075" indent="-219075">
              <a:spcBef>
                <a:spcPts val="600"/>
              </a:spcBef>
              <a:spcAft>
                <a:spcPts val="600"/>
              </a:spcAft>
              <a:defRPr sz="1800">
                <a:solidFill>
                  <a:schemeClr val="tx1"/>
                </a:solidFill>
              </a:defRPr>
            </a:lvl1pPr>
            <a:lvl2pPr marL="561975" indent="-219075">
              <a:spcBef>
                <a:spcPts val="600"/>
              </a:spcBef>
              <a:spcAft>
                <a:spcPts val="600"/>
              </a:spcAft>
              <a:defRPr sz="1600">
                <a:solidFill>
                  <a:schemeClr val="tx1"/>
                </a:solidFill>
              </a:defRPr>
            </a:lvl2pPr>
            <a:lvl3pPr marL="771525" indent="-171450">
              <a:spcBef>
                <a:spcPts val="600"/>
              </a:spcBef>
              <a:spcAft>
                <a:spcPts val="600"/>
              </a:spcAft>
              <a:defRPr sz="1600">
                <a:solidFill>
                  <a:schemeClr val="tx1"/>
                </a:solidFill>
              </a:defRPr>
            </a:lvl3pPr>
            <a:lvl4pPr marL="1027510" indent="-170260">
              <a:defRPr sz="1200">
                <a:solidFill>
                  <a:srgbClr val="3C3C3C"/>
                </a:solidFill>
              </a:defRPr>
            </a:lvl4pPr>
            <a:lvl5pPr marL="1246585" indent="-170260">
              <a:defRPr sz="1200">
                <a:solidFill>
                  <a:srgbClr val="3C3C3C"/>
                </a:solidFill>
              </a:defRPr>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1" y="171450"/>
            <a:ext cx="8328661" cy="301752"/>
          </a:xfrm>
          <a:noFill/>
          <a:ln w="9525">
            <a:noFill/>
            <a:miter lim="800000"/>
            <a:headEnd/>
            <a:tailEnd/>
          </a:ln>
        </p:spPr>
        <p:txBody>
          <a:bodyPr vert="horz" wrap="square" lIns="0" tIns="0" rIns="0" bIns="0" numCol="1" anchor="t" anchorCtr="0" compatLnSpc="1">
            <a:prstTxWarp prst="textNoShape">
              <a:avLst/>
            </a:prstTxWarp>
            <a:noAutofit/>
          </a:bodyPr>
          <a:lstStyle>
            <a:lvl1pPr>
              <a:defRPr lang="en-US" altLang="en-US" sz="2400" b="0" dirty="0">
                <a:solidFill>
                  <a:srgbClr val="565656"/>
                </a:solidFill>
                <a:latin typeface="+mj-lt"/>
                <a:ea typeface="+mj-ea"/>
                <a:cs typeface="+mj-cs"/>
              </a:defRPr>
            </a:lvl1pPr>
          </a:lstStyle>
          <a:p>
            <a:pPr lvl="0" algn="l" rtl="0" eaLnBrk="1" fontAlgn="base" hangingPunct="1">
              <a:spcBef>
                <a:spcPct val="0"/>
              </a:spcBef>
              <a:spcAft>
                <a:spcPct val="0"/>
              </a:spcAft>
            </a:pPr>
            <a:r>
              <a:rPr lang="en-US"/>
              <a:t>Click to edit Master title style</a:t>
            </a:r>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Kick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565656"/>
                </a:solidFill>
              </a:defRPr>
            </a:lvl1pPr>
          </a:lstStyle>
          <a:p>
            <a:r>
              <a:rPr lang="en-US"/>
              <a:t>Click to edit Master title style</a:t>
            </a:r>
            <a:endParaRPr lang="en-US" dirty="0"/>
          </a:p>
        </p:txBody>
      </p:sp>
      <p:sp>
        <p:nvSpPr>
          <p:cNvPr id="4" name="Text Placeholder 3"/>
          <p:cNvSpPr>
            <a:spLocks noGrp="1"/>
          </p:cNvSpPr>
          <p:nvPr>
            <p:ph type="body" sz="quarter" idx="10" hasCustomPrompt="1"/>
          </p:nvPr>
        </p:nvSpPr>
        <p:spPr>
          <a:xfrm>
            <a:off x="457200" y="846051"/>
            <a:ext cx="8255000" cy="619125"/>
          </a:xfrm>
        </p:spPr>
        <p:txBody>
          <a:bodyPr/>
          <a:lstStyle>
            <a:lvl1pPr marL="0" indent="0">
              <a:spcBef>
                <a:spcPts val="0"/>
              </a:spcBef>
              <a:spcAft>
                <a:spcPts val="0"/>
              </a:spcAft>
              <a:buNone/>
              <a:defRPr sz="2000" baseline="0">
                <a:solidFill>
                  <a:schemeClr val="tx1"/>
                </a:solidFill>
              </a:defRPr>
            </a:lvl1pPr>
            <a:lvl2pPr marL="352425" indent="0">
              <a:spcBef>
                <a:spcPts val="0"/>
              </a:spcBef>
              <a:spcAft>
                <a:spcPts val="0"/>
              </a:spcAft>
              <a:buNone/>
              <a:defRPr sz="1650"/>
            </a:lvl2pPr>
            <a:lvl3pPr marL="600075" indent="0">
              <a:spcBef>
                <a:spcPts val="0"/>
              </a:spcBef>
              <a:spcAft>
                <a:spcPts val="0"/>
              </a:spcAft>
              <a:buNone/>
              <a:defRPr sz="1650"/>
            </a:lvl3pPr>
            <a:lvl4pPr marL="857250" indent="0">
              <a:spcBef>
                <a:spcPts val="0"/>
              </a:spcBef>
              <a:spcAft>
                <a:spcPts val="0"/>
              </a:spcAft>
              <a:buNone/>
              <a:defRPr sz="1650"/>
            </a:lvl4pPr>
            <a:lvl5pPr marL="1076325" indent="0">
              <a:spcBef>
                <a:spcPts val="0"/>
              </a:spcBef>
              <a:spcAft>
                <a:spcPts val="0"/>
              </a:spcAft>
              <a:buNone/>
              <a:defRPr sz="1650"/>
            </a:lvl5pPr>
          </a:lstStyle>
          <a:p>
            <a:pPr lvl="0"/>
            <a:r>
              <a:rPr lang="en-US" dirty="0"/>
              <a:t>Click to edit kicker box copy. Two lines max.</a:t>
            </a:r>
          </a:p>
          <a:p>
            <a:pPr lvl="0"/>
            <a:endParaRPr lang="en-US" dirty="0"/>
          </a:p>
        </p:txBody>
      </p:sp>
    </p:spTree>
    <p:extLst>
      <p:ext uri="{BB962C8B-B14F-4D97-AF65-F5344CB8AC3E}">
        <p14:creationId xmlns:p14="http://schemas.microsoft.com/office/powerpoint/2010/main" val="261168318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Kicker,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565656"/>
                </a:solidFill>
              </a:defRPr>
            </a:lvl1pPr>
          </a:lstStyle>
          <a:p>
            <a:r>
              <a:rPr lang="en-US"/>
              <a:t>Click to edit Master title style</a:t>
            </a:r>
            <a:endParaRPr lang="en-US" dirty="0"/>
          </a:p>
        </p:txBody>
      </p:sp>
      <p:sp>
        <p:nvSpPr>
          <p:cNvPr id="4" name="Text Placeholder 3"/>
          <p:cNvSpPr>
            <a:spLocks noGrp="1"/>
          </p:cNvSpPr>
          <p:nvPr>
            <p:ph type="body" sz="quarter" idx="10" hasCustomPrompt="1"/>
          </p:nvPr>
        </p:nvSpPr>
        <p:spPr>
          <a:xfrm>
            <a:off x="457200" y="846052"/>
            <a:ext cx="8255000" cy="491024"/>
          </a:xfrm>
        </p:spPr>
        <p:txBody>
          <a:bodyPr/>
          <a:lstStyle>
            <a:lvl1pPr marL="0" indent="0">
              <a:spcBef>
                <a:spcPts val="0"/>
              </a:spcBef>
              <a:spcAft>
                <a:spcPts val="0"/>
              </a:spcAft>
              <a:buNone/>
              <a:defRPr sz="2000" baseline="0">
                <a:solidFill>
                  <a:schemeClr val="tx1"/>
                </a:solidFill>
              </a:defRPr>
            </a:lvl1pPr>
            <a:lvl2pPr marL="352425" indent="0">
              <a:spcBef>
                <a:spcPts val="0"/>
              </a:spcBef>
              <a:spcAft>
                <a:spcPts val="0"/>
              </a:spcAft>
              <a:buNone/>
              <a:defRPr sz="1650"/>
            </a:lvl2pPr>
            <a:lvl3pPr marL="600075" indent="0">
              <a:spcBef>
                <a:spcPts val="0"/>
              </a:spcBef>
              <a:spcAft>
                <a:spcPts val="0"/>
              </a:spcAft>
              <a:buNone/>
              <a:defRPr sz="1650"/>
            </a:lvl3pPr>
            <a:lvl4pPr marL="857250" indent="0">
              <a:spcBef>
                <a:spcPts val="0"/>
              </a:spcBef>
              <a:spcAft>
                <a:spcPts val="0"/>
              </a:spcAft>
              <a:buNone/>
              <a:defRPr sz="1650"/>
            </a:lvl4pPr>
            <a:lvl5pPr marL="1076325" indent="0">
              <a:spcBef>
                <a:spcPts val="0"/>
              </a:spcBef>
              <a:spcAft>
                <a:spcPts val="0"/>
              </a:spcAft>
              <a:buNone/>
              <a:defRPr sz="1650"/>
            </a:lvl5pPr>
          </a:lstStyle>
          <a:p>
            <a:pPr lvl="0"/>
            <a:r>
              <a:rPr lang="en-US" dirty="0"/>
              <a:t>Click to edit kicker box copy. Two lines max.</a:t>
            </a:r>
          </a:p>
        </p:txBody>
      </p:sp>
      <p:sp>
        <p:nvSpPr>
          <p:cNvPr id="6" name="Text Placeholder 5"/>
          <p:cNvSpPr>
            <a:spLocks noGrp="1"/>
          </p:cNvSpPr>
          <p:nvPr>
            <p:ph type="body" sz="quarter" idx="11"/>
          </p:nvPr>
        </p:nvSpPr>
        <p:spPr>
          <a:xfrm>
            <a:off x="404281" y="1530370"/>
            <a:ext cx="8279649" cy="3179820"/>
          </a:xfrm>
        </p:spPr>
        <p:txBody>
          <a:bodyPr/>
          <a:lstStyle>
            <a:lvl1pPr>
              <a:spcBef>
                <a:spcPts val="600"/>
              </a:spcBef>
              <a:spcAft>
                <a:spcPts val="600"/>
              </a:spcAft>
              <a:defRPr sz="1800">
                <a:solidFill>
                  <a:schemeClr val="tx1"/>
                </a:solidFill>
              </a:defRPr>
            </a:lvl1pPr>
            <a:lvl2pPr>
              <a:spcBef>
                <a:spcPts val="600"/>
              </a:spcBef>
              <a:spcAft>
                <a:spcPts val="600"/>
              </a:spcAft>
              <a:defRPr sz="1600">
                <a:solidFill>
                  <a:schemeClr val="tx1"/>
                </a:solidFill>
              </a:defRPr>
            </a:lvl2pPr>
            <a:lvl3pPr>
              <a:spcBef>
                <a:spcPts val="600"/>
              </a:spcBef>
              <a:spcAft>
                <a:spcPts val="600"/>
              </a:spcAft>
              <a:defRPr sz="1600">
                <a:solidFill>
                  <a:schemeClr val="tx1"/>
                </a:solidFill>
              </a:defRPr>
            </a:lvl3pPr>
            <a:lvl4pPr>
              <a:defRPr sz="1350"/>
            </a:lvl4pPr>
            <a:lvl5pPr>
              <a:defRPr sz="1350"/>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6502662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Rectangle 3"/>
          <p:cNvSpPr/>
          <p:nvPr userDrawn="1"/>
        </p:nvSpPr>
        <p:spPr bwMode="auto">
          <a:xfrm>
            <a:off x="0" y="0"/>
            <a:ext cx="9144000" cy="4714875"/>
          </a:xfrm>
          <a:prstGeom prst="rect">
            <a:avLst/>
          </a:prstGeom>
          <a:solidFill>
            <a:schemeClr val="bg1"/>
          </a:solidFill>
          <a:ln w="19050" cap="flat" cmpd="sng" algn="ctr">
            <a:solidFill>
              <a:schemeClr val="bg1">
                <a:alpha val="0"/>
              </a:schemeClr>
            </a:solid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spTree>
    <p:extLst>
      <p:ext uri="{BB962C8B-B14F-4D97-AF65-F5344CB8AC3E}">
        <p14:creationId xmlns:p14="http://schemas.microsoft.com/office/powerpoint/2010/main" val="41978204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3" name="Picture 2" descr="4.5-PPTBackgrounds_Hedaer-GraySkinny-reversed_Hedaer-GraySkinny.png"/>
          <p:cNvPicPr>
            <a:picLocks noChangeAspect="1"/>
          </p:cNvPicPr>
          <p:nvPr userDrawn="1"/>
        </p:nvPicPr>
        <p:blipFill>
          <a:blip r:embed="rId14" cstate="print">
            <a:extLst>
              <a:ext uri="{28A0092B-C50C-407E-A947-70E740481C1C}">
                <a14:useLocalDpi xmlns:a14="http://schemas.microsoft.com/office/drawing/2010/main"/>
              </a:ext>
            </a:extLst>
          </a:blip>
          <a:stretch>
            <a:fillRect/>
          </a:stretch>
        </p:blipFill>
        <p:spPr>
          <a:xfrm>
            <a:off x="0" y="0"/>
            <a:ext cx="9144000" cy="661196"/>
          </a:xfrm>
          <a:prstGeom prst="rect">
            <a:avLst/>
          </a:prstGeom>
        </p:spPr>
      </p:pic>
      <p:sp>
        <p:nvSpPr>
          <p:cNvPr id="3075" name="Rectangle 3"/>
          <p:cNvSpPr>
            <a:spLocks noGrp="1" noChangeArrowheads="1"/>
          </p:cNvSpPr>
          <p:nvPr>
            <p:ph type="title"/>
          </p:nvPr>
        </p:nvSpPr>
        <p:spPr bwMode="auto">
          <a:xfrm>
            <a:off x="457201" y="171450"/>
            <a:ext cx="8227061" cy="301752"/>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p>
            <a:pPr lvl="0" algn="l" rtl="0" eaLnBrk="1" fontAlgn="base" hangingPunct="1">
              <a:spcBef>
                <a:spcPct val="0"/>
              </a:spcBef>
              <a:spcAft>
                <a:spcPct val="0"/>
              </a:spcAft>
            </a:pPr>
            <a:r>
              <a:rPr lang="en-US" altLang="en-US" dirty="0"/>
              <a:t>Click to edit Master title style</a:t>
            </a:r>
          </a:p>
        </p:txBody>
      </p:sp>
      <p:sp>
        <p:nvSpPr>
          <p:cNvPr id="3076" name="Rectangle 4"/>
          <p:cNvSpPr>
            <a:spLocks noGrp="1" noChangeArrowheads="1"/>
          </p:cNvSpPr>
          <p:nvPr>
            <p:ph type="body" idx="1"/>
          </p:nvPr>
        </p:nvSpPr>
        <p:spPr bwMode="auto">
          <a:xfrm>
            <a:off x="394136" y="936080"/>
            <a:ext cx="8267700" cy="3736418"/>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p>
            <a:pPr lvl="0"/>
            <a:r>
              <a:rPr lang="en-US" altLang="en-US" dirty="0"/>
              <a:t>Click to edit Master text styles</a:t>
            </a:r>
          </a:p>
          <a:p>
            <a:pPr lvl="1"/>
            <a:r>
              <a:rPr lang="en-US" altLang="en-US" dirty="0"/>
              <a:t>Second level</a:t>
            </a:r>
          </a:p>
          <a:p>
            <a:pPr lvl="2"/>
            <a:r>
              <a:rPr lang="en-US" altLang="en-US" dirty="0"/>
              <a:t>Third level</a:t>
            </a:r>
          </a:p>
          <a:p>
            <a:pPr lvl="3"/>
            <a:r>
              <a:rPr lang="en-US" altLang="en-US" dirty="0"/>
              <a:t>Fourth level</a:t>
            </a:r>
          </a:p>
          <a:p>
            <a:pPr lvl="4"/>
            <a:r>
              <a:rPr lang="en-US" altLang="en-US" dirty="0"/>
              <a:t>Fifth level</a:t>
            </a:r>
          </a:p>
        </p:txBody>
      </p:sp>
      <p:sp>
        <p:nvSpPr>
          <p:cNvPr id="10" name="TextBox 9"/>
          <p:cNvSpPr txBox="1"/>
          <p:nvPr/>
        </p:nvSpPr>
        <p:spPr>
          <a:xfrm>
            <a:off x="1509160" y="4904100"/>
            <a:ext cx="1890174" cy="184666"/>
          </a:xfrm>
          <a:prstGeom prst="rect">
            <a:avLst/>
          </a:prstGeom>
          <a:noFill/>
        </p:spPr>
        <p:txBody>
          <a:bodyPr wrap="square" rtlCol="0">
            <a:spAutoFit/>
          </a:bodyPr>
          <a:lstStyle/>
          <a:p>
            <a:r>
              <a:rPr lang="en-US" sz="600" dirty="0">
                <a:solidFill>
                  <a:schemeClr val="bg1">
                    <a:lumMod val="50000"/>
                  </a:schemeClr>
                </a:solidFill>
                <a:latin typeface="+mn-lt"/>
                <a:cs typeface="+mn-cs"/>
              </a:rPr>
              <a:t>© Scaled Agile, Inc.</a:t>
            </a:r>
          </a:p>
        </p:txBody>
      </p:sp>
      <p:pic>
        <p:nvPicPr>
          <p:cNvPr id="2" name="Picture 1" descr="PPT-sized.png"/>
          <p:cNvPicPr>
            <a:picLocks noChangeAspect="1"/>
          </p:cNvPicPr>
          <p:nvPr userDrawn="1"/>
        </p:nvPicPr>
        <p:blipFill>
          <a:blip r:embed="rId15" cstate="print">
            <a:extLst>
              <a:ext uri="{28A0092B-C50C-407E-A947-70E740481C1C}">
                <a14:useLocalDpi xmlns:a14="http://schemas.microsoft.com/office/drawing/2010/main"/>
              </a:ext>
            </a:extLst>
          </a:blip>
          <a:stretch>
            <a:fillRect/>
          </a:stretch>
        </p:blipFill>
        <p:spPr>
          <a:xfrm>
            <a:off x="426460" y="4934417"/>
            <a:ext cx="1117600" cy="127127"/>
          </a:xfrm>
          <a:prstGeom prst="rect">
            <a:avLst/>
          </a:prstGeom>
        </p:spPr>
      </p:pic>
    </p:spTree>
  </p:cSld>
  <p:clrMap bg1="lt1" tx1="dk1" bg2="lt2" tx2="dk2" accent1="accent1" accent2="accent2" accent3="accent3" accent4="accent4" accent5="accent5" accent6="accent6" hlink="hlink" folHlink="folHlink"/>
  <p:sldLayoutIdLst>
    <p:sldLayoutId id="2147483722" r:id="rId1"/>
    <p:sldLayoutId id="2147483764" r:id="rId2"/>
    <p:sldLayoutId id="2147483723" r:id="rId3"/>
    <p:sldLayoutId id="2147483725" r:id="rId4"/>
    <p:sldLayoutId id="2147483726" r:id="rId5"/>
    <p:sldLayoutId id="2147483727" r:id="rId6"/>
    <p:sldLayoutId id="2147483761" r:id="rId7"/>
    <p:sldLayoutId id="2147483760" r:id="rId8"/>
    <p:sldLayoutId id="2147483763" r:id="rId9"/>
    <p:sldLayoutId id="2147483766" r:id="rId10"/>
    <p:sldLayoutId id="2147483756" r:id="rId11"/>
    <p:sldLayoutId id="2147483757" r:id="rId12"/>
  </p:sldLayoutIdLst>
  <p:hf hdr="0" ftr="0" dt="0"/>
  <p:txStyles>
    <p:titleStyle>
      <a:lvl1pPr algn="l" rtl="0" eaLnBrk="1" fontAlgn="base" hangingPunct="1">
        <a:spcBef>
          <a:spcPct val="0"/>
        </a:spcBef>
        <a:spcAft>
          <a:spcPct val="0"/>
        </a:spcAft>
        <a:defRPr lang="en-US" altLang="en-US" sz="2400" b="0" dirty="0" smtClean="0">
          <a:solidFill>
            <a:schemeClr val="tx1"/>
          </a:solidFill>
          <a:latin typeface="+mj-lt"/>
          <a:ea typeface="+mj-ea"/>
          <a:cs typeface="+mj-cs"/>
        </a:defRPr>
      </a:lvl1pPr>
      <a:lvl2pPr algn="l" rtl="0" eaLnBrk="1" fontAlgn="base" hangingPunct="1">
        <a:spcBef>
          <a:spcPct val="0"/>
        </a:spcBef>
        <a:spcAft>
          <a:spcPct val="0"/>
        </a:spcAft>
        <a:defRPr sz="2400" b="1">
          <a:solidFill>
            <a:schemeClr val="tx2"/>
          </a:solidFill>
          <a:latin typeface="Arial" charset="0"/>
          <a:cs typeface="Arial" charset="0"/>
        </a:defRPr>
      </a:lvl2pPr>
      <a:lvl3pPr algn="l" rtl="0" eaLnBrk="1" fontAlgn="base" hangingPunct="1">
        <a:spcBef>
          <a:spcPct val="0"/>
        </a:spcBef>
        <a:spcAft>
          <a:spcPct val="0"/>
        </a:spcAft>
        <a:defRPr sz="2400" b="1">
          <a:solidFill>
            <a:schemeClr val="tx2"/>
          </a:solidFill>
          <a:latin typeface="Arial" charset="0"/>
          <a:cs typeface="Arial" charset="0"/>
        </a:defRPr>
      </a:lvl3pPr>
      <a:lvl4pPr algn="l" rtl="0" eaLnBrk="1" fontAlgn="base" hangingPunct="1">
        <a:spcBef>
          <a:spcPct val="0"/>
        </a:spcBef>
        <a:spcAft>
          <a:spcPct val="0"/>
        </a:spcAft>
        <a:defRPr sz="2400" b="1">
          <a:solidFill>
            <a:schemeClr val="tx2"/>
          </a:solidFill>
          <a:latin typeface="Arial" charset="0"/>
          <a:cs typeface="Arial" charset="0"/>
        </a:defRPr>
      </a:lvl4pPr>
      <a:lvl5pPr algn="l" rtl="0" eaLnBrk="1" fontAlgn="base" hangingPunct="1">
        <a:spcBef>
          <a:spcPct val="0"/>
        </a:spcBef>
        <a:spcAft>
          <a:spcPct val="0"/>
        </a:spcAft>
        <a:defRPr sz="2400" b="1">
          <a:solidFill>
            <a:schemeClr val="tx2"/>
          </a:solidFill>
          <a:latin typeface="Arial" charset="0"/>
          <a:cs typeface="Arial" charset="0"/>
        </a:defRPr>
      </a:lvl5pPr>
      <a:lvl6pPr marL="342900" algn="l" rtl="0" eaLnBrk="1" fontAlgn="base" hangingPunct="1">
        <a:spcBef>
          <a:spcPct val="0"/>
        </a:spcBef>
        <a:spcAft>
          <a:spcPct val="0"/>
        </a:spcAft>
        <a:defRPr sz="2400" b="1">
          <a:solidFill>
            <a:schemeClr val="tx2"/>
          </a:solidFill>
          <a:latin typeface="Arial" charset="0"/>
          <a:cs typeface="Arial" charset="0"/>
        </a:defRPr>
      </a:lvl6pPr>
      <a:lvl7pPr marL="685800" algn="l" rtl="0" eaLnBrk="1" fontAlgn="base" hangingPunct="1">
        <a:spcBef>
          <a:spcPct val="0"/>
        </a:spcBef>
        <a:spcAft>
          <a:spcPct val="0"/>
        </a:spcAft>
        <a:defRPr sz="2400" b="1">
          <a:solidFill>
            <a:schemeClr val="tx2"/>
          </a:solidFill>
          <a:latin typeface="Arial" charset="0"/>
          <a:cs typeface="Arial" charset="0"/>
        </a:defRPr>
      </a:lvl7pPr>
      <a:lvl8pPr marL="1028700" algn="l" rtl="0" eaLnBrk="1" fontAlgn="base" hangingPunct="1">
        <a:spcBef>
          <a:spcPct val="0"/>
        </a:spcBef>
        <a:spcAft>
          <a:spcPct val="0"/>
        </a:spcAft>
        <a:defRPr sz="2400" b="1">
          <a:solidFill>
            <a:schemeClr val="tx2"/>
          </a:solidFill>
          <a:latin typeface="Arial" charset="0"/>
          <a:cs typeface="Arial" charset="0"/>
        </a:defRPr>
      </a:lvl8pPr>
      <a:lvl9pPr marL="1371600" algn="l" rtl="0" eaLnBrk="1" fontAlgn="base" hangingPunct="1">
        <a:spcBef>
          <a:spcPct val="0"/>
        </a:spcBef>
        <a:spcAft>
          <a:spcPct val="0"/>
        </a:spcAft>
        <a:defRPr sz="2400" b="1">
          <a:solidFill>
            <a:schemeClr val="tx2"/>
          </a:solidFill>
          <a:latin typeface="Arial" charset="0"/>
          <a:cs typeface="Arial" charset="0"/>
        </a:defRPr>
      </a:lvl9pPr>
    </p:titleStyle>
    <p:bodyStyle>
      <a:lvl1pPr marL="219075" indent="-219075" algn="l" rtl="0" eaLnBrk="1" fontAlgn="base" hangingPunct="1">
        <a:lnSpc>
          <a:spcPct val="110000"/>
        </a:lnSpc>
        <a:spcBef>
          <a:spcPts val="1200"/>
        </a:spcBef>
        <a:spcAft>
          <a:spcPts val="500"/>
        </a:spcAft>
        <a:buClr>
          <a:schemeClr val="bg1">
            <a:lumMod val="65000"/>
          </a:schemeClr>
        </a:buClr>
        <a:buSzPct val="100000"/>
        <a:buFont typeface="Webdings" pitchFamily="18" charset="2"/>
        <a:buChar char="4"/>
        <a:defRPr sz="2000">
          <a:solidFill>
            <a:schemeClr val="tx1"/>
          </a:solidFill>
          <a:latin typeface="+mn-lt"/>
          <a:ea typeface="+mn-ea"/>
          <a:cs typeface="+mn-cs"/>
        </a:defRPr>
      </a:lvl1pPr>
      <a:lvl2pPr marL="561975" indent="-209550" algn="l" rtl="0" eaLnBrk="1" fontAlgn="base" hangingPunct="1">
        <a:lnSpc>
          <a:spcPct val="110000"/>
        </a:lnSpc>
        <a:spcBef>
          <a:spcPts val="300"/>
        </a:spcBef>
        <a:spcAft>
          <a:spcPts val="300"/>
        </a:spcAft>
        <a:buClr>
          <a:schemeClr val="tx1">
            <a:lumMod val="50000"/>
            <a:lumOff val="50000"/>
          </a:schemeClr>
        </a:buClr>
        <a:buSzPct val="117000"/>
        <a:buFont typeface="Lucida Grande"/>
        <a:buChar char="-"/>
        <a:defRPr sz="1800">
          <a:solidFill>
            <a:schemeClr val="tx1"/>
          </a:solidFill>
          <a:latin typeface="+mn-lt"/>
          <a:cs typeface="+mn-cs"/>
        </a:defRPr>
      </a:lvl2pPr>
      <a:lvl3pPr marL="771525" indent="-171450" algn="l" rtl="0" eaLnBrk="1" fontAlgn="base" hangingPunct="1">
        <a:lnSpc>
          <a:spcPct val="110000"/>
        </a:lnSpc>
        <a:spcBef>
          <a:spcPts val="300"/>
        </a:spcBef>
        <a:spcAft>
          <a:spcPts val="300"/>
        </a:spcAft>
        <a:buClr>
          <a:schemeClr val="tx1">
            <a:lumMod val="50000"/>
            <a:lumOff val="50000"/>
          </a:schemeClr>
        </a:buClr>
        <a:buSzPct val="110000"/>
        <a:buFont typeface="Lucida Grande"/>
        <a:buChar char="-"/>
        <a:defRPr lang="en-US" altLang="en-US" sz="1800" dirty="0" smtClean="0">
          <a:solidFill>
            <a:schemeClr val="tx1"/>
          </a:solidFill>
          <a:latin typeface="+mn-lt"/>
          <a:cs typeface="+mn-cs"/>
        </a:defRPr>
      </a:lvl3pPr>
      <a:lvl4pPr marL="1071563" indent="-214313" algn="l" rtl="0" eaLnBrk="1" fontAlgn="base" hangingPunct="1">
        <a:lnSpc>
          <a:spcPct val="110000"/>
        </a:lnSpc>
        <a:spcBef>
          <a:spcPts val="225"/>
        </a:spcBef>
        <a:spcAft>
          <a:spcPts val="225"/>
        </a:spcAft>
        <a:buClr>
          <a:schemeClr val="tx1">
            <a:lumMod val="75000"/>
            <a:lumOff val="25000"/>
          </a:schemeClr>
        </a:buClr>
        <a:buSzPct val="110000"/>
        <a:buFont typeface="Lucida Grande"/>
        <a:buChar char="-"/>
        <a:defRPr sz="1800" baseline="0">
          <a:solidFill>
            <a:schemeClr val="tx1"/>
          </a:solidFill>
          <a:latin typeface="+mn-lt"/>
          <a:cs typeface="+mn-cs"/>
        </a:defRPr>
      </a:lvl4pPr>
      <a:lvl5pPr marL="1246585" indent="-170260" algn="l" rtl="0" eaLnBrk="1" fontAlgn="base" hangingPunct="1">
        <a:lnSpc>
          <a:spcPct val="110000"/>
        </a:lnSpc>
        <a:spcBef>
          <a:spcPts val="225"/>
        </a:spcBef>
        <a:spcAft>
          <a:spcPts val="225"/>
        </a:spcAft>
        <a:buClr>
          <a:schemeClr val="tx1">
            <a:lumMod val="75000"/>
            <a:lumOff val="25000"/>
          </a:schemeClr>
        </a:buClr>
        <a:buSzPct val="110000"/>
        <a:buFont typeface="Arial Black" pitchFamily="34" charset="0"/>
        <a:buChar char="–"/>
        <a:defRPr sz="1800">
          <a:solidFill>
            <a:schemeClr val="tx1"/>
          </a:solidFill>
          <a:latin typeface="+mn-lt"/>
          <a:cs typeface="+mn-cs"/>
        </a:defRPr>
      </a:lvl5pPr>
      <a:lvl6pPr marL="1541860" indent="-236935" algn="l" rtl="0" eaLnBrk="1" fontAlgn="base" hangingPunct="1">
        <a:spcBef>
          <a:spcPct val="20000"/>
        </a:spcBef>
        <a:spcAft>
          <a:spcPct val="0"/>
        </a:spcAft>
        <a:buClr>
          <a:schemeClr val="folHlink"/>
        </a:buClr>
        <a:buSzPct val="80000"/>
        <a:buFont typeface="Wingdings" pitchFamily="2" charset="2"/>
        <a:buChar char="§"/>
        <a:defRPr sz="1500">
          <a:solidFill>
            <a:schemeClr val="tx1"/>
          </a:solidFill>
          <a:latin typeface="+mn-lt"/>
          <a:cs typeface="+mn-cs"/>
        </a:defRPr>
      </a:lvl6pPr>
      <a:lvl7pPr marL="1884760" indent="-236935" algn="l" rtl="0" eaLnBrk="1" fontAlgn="base" hangingPunct="1">
        <a:spcBef>
          <a:spcPct val="20000"/>
        </a:spcBef>
        <a:spcAft>
          <a:spcPct val="0"/>
        </a:spcAft>
        <a:buClr>
          <a:schemeClr val="folHlink"/>
        </a:buClr>
        <a:buSzPct val="80000"/>
        <a:buFont typeface="Wingdings" pitchFamily="2" charset="2"/>
        <a:buChar char="§"/>
        <a:defRPr sz="1500">
          <a:solidFill>
            <a:schemeClr val="tx1"/>
          </a:solidFill>
          <a:latin typeface="+mn-lt"/>
          <a:cs typeface="+mn-cs"/>
        </a:defRPr>
      </a:lvl7pPr>
      <a:lvl8pPr marL="2227660" indent="-236935" algn="l" rtl="0" eaLnBrk="1" fontAlgn="base" hangingPunct="1">
        <a:spcBef>
          <a:spcPct val="20000"/>
        </a:spcBef>
        <a:spcAft>
          <a:spcPct val="0"/>
        </a:spcAft>
        <a:buClr>
          <a:schemeClr val="folHlink"/>
        </a:buClr>
        <a:buSzPct val="80000"/>
        <a:buFont typeface="Wingdings" pitchFamily="2" charset="2"/>
        <a:buChar char="§"/>
        <a:defRPr sz="1500">
          <a:solidFill>
            <a:schemeClr val="tx1"/>
          </a:solidFill>
          <a:latin typeface="+mn-lt"/>
          <a:cs typeface="+mn-cs"/>
        </a:defRPr>
      </a:lvl8pPr>
      <a:lvl9pPr marL="2570560" indent="-236935" algn="l" rtl="0" eaLnBrk="1" fontAlgn="base" hangingPunct="1">
        <a:spcBef>
          <a:spcPct val="20000"/>
        </a:spcBef>
        <a:spcAft>
          <a:spcPct val="0"/>
        </a:spcAft>
        <a:buClr>
          <a:schemeClr val="folHlink"/>
        </a:buClr>
        <a:buSzPct val="80000"/>
        <a:buFont typeface="Wingdings" pitchFamily="2" charset="2"/>
        <a:buChar char="§"/>
        <a:defRPr sz="1500">
          <a:solidFill>
            <a:schemeClr val="tx1"/>
          </a:solidFill>
          <a:latin typeface="+mn-lt"/>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13" Type="http://schemas.openxmlformats.org/officeDocument/2006/relationships/tags" Target="../tags/tag15.xml"/><Relationship Id="rId18" Type="http://schemas.openxmlformats.org/officeDocument/2006/relationships/tags" Target="../tags/tag20.xml"/><Relationship Id="rId26" Type="http://schemas.openxmlformats.org/officeDocument/2006/relationships/tags" Target="../tags/tag28.xml"/><Relationship Id="rId21" Type="http://schemas.openxmlformats.org/officeDocument/2006/relationships/tags" Target="../tags/tag23.xml"/><Relationship Id="rId34" Type="http://schemas.openxmlformats.org/officeDocument/2006/relationships/image" Target="../media/image32.png"/><Relationship Id="rId7" Type="http://schemas.openxmlformats.org/officeDocument/2006/relationships/tags" Target="../tags/tag9.xml"/><Relationship Id="rId12" Type="http://schemas.openxmlformats.org/officeDocument/2006/relationships/tags" Target="../tags/tag14.xml"/><Relationship Id="rId17" Type="http://schemas.openxmlformats.org/officeDocument/2006/relationships/tags" Target="../tags/tag19.xml"/><Relationship Id="rId25" Type="http://schemas.openxmlformats.org/officeDocument/2006/relationships/tags" Target="../tags/tag27.xml"/><Relationship Id="rId33" Type="http://schemas.openxmlformats.org/officeDocument/2006/relationships/image" Target="../media/image31.png"/><Relationship Id="rId2" Type="http://schemas.openxmlformats.org/officeDocument/2006/relationships/tags" Target="../tags/tag4.xml"/><Relationship Id="rId16" Type="http://schemas.openxmlformats.org/officeDocument/2006/relationships/tags" Target="../tags/tag18.xml"/><Relationship Id="rId20" Type="http://schemas.openxmlformats.org/officeDocument/2006/relationships/tags" Target="../tags/tag22.xml"/><Relationship Id="rId29" Type="http://schemas.openxmlformats.org/officeDocument/2006/relationships/notesSlide" Target="../notesSlides/notesSlide10.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24" Type="http://schemas.openxmlformats.org/officeDocument/2006/relationships/tags" Target="../tags/tag26.xml"/><Relationship Id="rId32" Type="http://schemas.openxmlformats.org/officeDocument/2006/relationships/image" Target="../media/image30.png"/><Relationship Id="rId37" Type="http://schemas.openxmlformats.org/officeDocument/2006/relationships/image" Target="../media/image35.png"/><Relationship Id="rId5" Type="http://schemas.openxmlformats.org/officeDocument/2006/relationships/tags" Target="../tags/tag7.xml"/><Relationship Id="rId15" Type="http://schemas.openxmlformats.org/officeDocument/2006/relationships/tags" Target="../tags/tag17.xml"/><Relationship Id="rId23" Type="http://schemas.openxmlformats.org/officeDocument/2006/relationships/tags" Target="../tags/tag25.xml"/><Relationship Id="rId28" Type="http://schemas.openxmlformats.org/officeDocument/2006/relationships/slideLayout" Target="../slideLayouts/slideLayout6.xml"/><Relationship Id="rId36" Type="http://schemas.openxmlformats.org/officeDocument/2006/relationships/image" Target="../media/image34.png"/><Relationship Id="rId10" Type="http://schemas.openxmlformats.org/officeDocument/2006/relationships/tags" Target="../tags/tag12.xml"/><Relationship Id="rId19" Type="http://schemas.openxmlformats.org/officeDocument/2006/relationships/tags" Target="../tags/tag21.xml"/><Relationship Id="rId31" Type="http://schemas.openxmlformats.org/officeDocument/2006/relationships/image" Target="../media/image29.png"/><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tags" Target="../tags/tag16.xml"/><Relationship Id="rId22" Type="http://schemas.openxmlformats.org/officeDocument/2006/relationships/tags" Target="../tags/tag24.xml"/><Relationship Id="rId27" Type="http://schemas.openxmlformats.org/officeDocument/2006/relationships/tags" Target="../tags/tag29.xml"/><Relationship Id="rId30" Type="http://schemas.openxmlformats.org/officeDocument/2006/relationships/image" Target="../media/image28.png"/><Relationship Id="rId35" Type="http://schemas.openxmlformats.org/officeDocument/2006/relationships/image" Target="../media/image33.png"/><Relationship Id="rId8" Type="http://schemas.openxmlformats.org/officeDocument/2006/relationships/tags" Target="../tags/tag10.xml"/><Relationship Id="rId3" Type="http://schemas.openxmlformats.org/officeDocument/2006/relationships/tags" Target="../tags/tag5.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1.xml"/><Relationship Id="rId1" Type="http://schemas.openxmlformats.org/officeDocument/2006/relationships/tags" Target="../tags/tag30.xml"/><Relationship Id="rId4" Type="http://schemas.openxmlformats.org/officeDocument/2006/relationships/notesSlide" Target="../notesSlides/notesSlide1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8" Type="http://schemas.openxmlformats.org/officeDocument/2006/relationships/image" Target="../media/image40.png"/><Relationship Id="rId13" Type="http://schemas.microsoft.com/office/2007/relationships/diagramDrawing" Target="../diagrams/drawing1.xml"/><Relationship Id="rId3" Type="http://schemas.openxmlformats.org/officeDocument/2006/relationships/slideLayout" Target="../slideLayouts/slideLayout6.xml"/><Relationship Id="rId7" Type="http://schemas.openxmlformats.org/officeDocument/2006/relationships/image" Target="../media/image39.png"/><Relationship Id="rId12" Type="http://schemas.openxmlformats.org/officeDocument/2006/relationships/diagramColors" Target="../diagrams/colors1.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38.png"/><Relationship Id="rId11" Type="http://schemas.openxmlformats.org/officeDocument/2006/relationships/diagramQuickStyle" Target="../diagrams/quickStyle1.xml"/><Relationship Id="rId5" Type="http://schemas.openxmlformats.org/officeDocument/2006/relationships/image" Target="../media/image37.png"/><Relationship Id="rId10" Type="http://schemas.openxmlformats.org/officeDocument/2006/relationships/diagramLayout" Target="../diagrams/layout1.xml"/><Relationship Id="rId4" Type="http://schemas.openxmlformats.org/officeDocument/2006/relationships/notesSlide" Target="../notesSlides/notesSlide14.xml"/><Relationship Id="rId9" Type="http://schemas.openxmlformats.org/officeDocument/2006/relationships/diagramData" Target="../diagrams/data1.xml"/><Relationship Id="rId14" Type="http://schemas.openxmlformats.org/officeDocument/2006/relationships/image" Target="../media/image41.png"/></Relationships>
</file>

<file path=ppt/slides/_rels/slide17.xml.rels><?xml version="1.0" encoding="UTF-8" standalone="yes"?>
<Relationships xmlns="http://schemas.openxmlformats.org/package/2006/relationships"><Relationship Id="rId13" Type="http://schemas.microsoft.com/office/2007/relationships/diagramDrawing" Target="../diagrams/drawing3.xml"/><Relationship Id="rId18" Type="http://schemas.microsoft.com/office/2007/relationships/diagramDrawing" Target="../diagrams/drawing4.xml"/><Relationship Id="rId26" Type="http://schemas.openxmlformats.org/officeDocument/2006/relationships/diagramQuickStyle" Target="../diagrams/quickStyle6.xml"/><Relationship Id="rId39" Type="http://schemas.openxmlformats.org/officeDocument/2006/relationships/diagramData" Target="../diagrams/data9.xml"/><Relationship Id="rId21" Type="http://schemas.openxmlformats.org/officeDocument/2006/relationships/diagramQuickStyle" Target="../diagrams/quickStyle5.xml"/><Relationship Id="rId34" Type="http://schemas.openxmlformats.org/officeDocument/2006/relationships/diagramData" Target="../diagrams/data8.xml"/><Relationship Id="rId42" Type="http://schemas.openxmlformats.org/officeDocument/2006/relationships/diagramColors" Target="../diagrams/colors9.xml"/><Relationship Id="rId7" Type="http://schemas.openxmlformats.org/officeDocument/2006/relationships/diagramColors" Target="../diagrams/colors2.xml"/><Relationship Id="rId2" Type="http://schemas.openxmlformats.org/officeDocument/2006/relationships/notesSlide" Target="../notesSlides/notesSlide15.xml"/><Relationship Id="rId16" Type="http://schemas.openxmlformats.org/officeDocument/2006/relationships/diagramQuickStyle" Target="../diagrams/quickStyle4.xml"/><Relationship Id="rId20" Type="http://schemas.openxmlformats.org/officeDocument/2006/relationships/diagramLayout" Target="../diagrams/layout5.xml"/><Relationship Id="rId29" Type="http://schemas.openxmlformats.org/officeDocument/2006/relationships/diagramData" Target="../diagrams/data7.xml"/><Relationship Id="rId41" Type="http://schemas.openxmlformats.org/officeDocument/2006/relationships/diagramQuickStyle" Target="../diagrams/quickStyle9.xml"/><Relationship Id="rId1" Type="http://schemas.openxmlformats.org/officeDocument/2006/relationships/slideLayout" Target="../slideLayouts/slideLayout4.xml"/><Relationship Id="rId6" Type="http://schemas.openxmlformats.org/officeDocument/2006/relationships/diagramQuickStyle" Target="../diagrams/quickStyle2.xml"/><Relationship Id="rId11" Type="http://schemas.openxmlformats.org/officeDocument/2006/relationships/diagramQuickStyle" Target="../diagrams/quickStyle3.xml"/><Relationship Id="rId24" Type="http://schemas.openxmlformats.org/officeDocument/2006/relationships/diagramData" Target="../diagrams/data6.xml"/><Relationship Id="rId32" Type="http://schemas.openxmlformats.org/officeDocument/2006/relationships/diagramColors" Target="../diagrams/colors7.xml"/><Relationship Id="rId37" Type="http://schemas.openxmlformats.org/officeDocument/2006/relationships/diagramColors" Target="../diagrams/colors8.xml"/><Relationship Id="rId40" Type="http://schemas.openxmlformats.org/officeDocument/2006/relationships/diagramLayout" Target="../diagrams/layout9.xml"/><Relationship Id="rId5" Type="http://schemas.openxmlformats.org/officeDocument/2006/relationships/diagramLayout" Target="../diagrams/layout2.xml"/><Relationship Id="rId15" Type="http://schemas.openxmlformats.org/officeDocument/2006/relationships/diagramLayout" Target="../diagrams/layout4.xml"/><Relationship Id="rId23" Type="http://schemas.microsoft.com/office/2007/relationships/diagramDrawing" Target="../diagrams/drawing5.xml"/><Relationship Id="rId28" Type="http://schemas.microsoft.com/office/2007/relationships/diagramDrawing" Target="../diagrams/drawing6.xml"/><Relationship Id="rId36" Type="http://schemas.openxmlformats.org/officeDocument/2006/relationships/diagramQuickStyle" Target="../diagrams/quickStyle8.xml"/><Relationship Id="rId10" Type="http://schemas.openxmlformats.org/officeDocument/2006/relationships/diagramLayout" Target="../diagrams/layout3.xml"/><Relationship Id="rId19" Type="http://schemas.openxmlformats.org/officeDocument/2006/relationships/diagramData" Target="../diagrams/data5.xml"/><Relationship Id="rId31" Type="http://schemas.openxmlformats.org/officeDocument/2006/relationships/diagramQuickStyle" Target="../diagrams/quickStyle7.xml"/><Relationship Id="rId4" Type="http://schemas.openxmlformats.org/officeDocument/2006/relationships/diagramData" Target="../diagrams/data2.xml"/><Relationship Id="rId9" Type="http://schemas.openxmlformats.org/officeDocument/2006/relationships/diagramData" Target="../diagrams/data3.xml"/><Relationship Id="rId14" Type="http://schemas.openxmlformats.org/officeDocument/2006/relationships/diagramData" Target="../diagrams/data4.xml"/><Relationship Id="rId22" Type="http://schemas.openxmlformats.org/officeDocument/2006/relationships/diagramColors" Target="../diagrams/colors5.xml"/><Relationship Id="rId27" Type="http://schemas.openxmlformats.org/officeDocument/2006/relationships/diagramColors" Target="../diagrams/colors6.xml"/><Relationship Id="rId30" Type="http://schemas.openxmlformats.org/officeDocument/2006/relationships/diagramLayout" Target="../diagrams/layout7.xml"/><Relationship Id="rId35" Type="http://schemas.openxmlformats.org/officeDocument/2006/relationships/diagramLayout" Target="../diagrams/layout8.xml"/><Relationship Id="rId43" Type="http://schemas.microsoft.com/office/2007/relationships/diagramDrawing" Target="../diagrams/drawing9.xml"/><Relationship Id="rId8" Type="http://schemas.microsoft.com/office/2007/relationships/diagramDrawing" Target="../diagrams/drawing2.xml"/><Relationship Id="rId3" Type="http://schemas.openxmlformats.org/officeDocument/2006/relationships/image" Target="../media/image42.png"/><Relationship Id="rId12" Type="http://schemas.openxmlformats.org/officeDocument/2006/relationships/diagramColors" Target="../diagrams/colors3.xml"/><Relationship Id="rId17" Type="http://schemas.openxmlformats.org/officeDocument/2006/relationships/diagramColors" Target="../diagrams/colors4.xml"/><Relationship Id="rId25" Type="http://schemas.openxmlformats.org/officeDocument/2006/relationships/diagramLayout" Target="../diagrams/layout6.xml"/><Relationship Id="rId33" Type="http://schemas.microsoft.com/office/2007/relationships/diagramDrawing" Target="../diagrams/drawing7.xml"/><Relationship Id="rId38" Type="http://schemas.microsoft.com/office/2007/relationships/diagramDrawing" Target="../diagrams/drawing8.xml"/></Relationships>
</file>

<file path=ppt/slides/_rels/slide18.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43.png"/><Relationship Id="rId7" Type="http://schemas.openxmlformats.org/officeDocument/2006/relationships/image" Target="../media/image46.png"/><Relationship Id="rId2" Type="http://schemas.openxmlformats.org/officeDocument/2006/relationships/notesSlide" Target="../notesSlides/notesSlide16.xml"/><Relationship Id="rId1" Type="http://schemas.openxmlformats.org/officeDocument/2006/relationships/slideLayout" Target="../slideLayouts/slideLayout6.xml"/><Relationship Id="rId6" Type="http://schemas.openxmlformats.org/officeDocument/2006/relationships/image" Target="../media/image39.png"/><Relationship Id="rId5" Type="http://schemas.openxmlformats.org/officeDocument/2006/relationships/image" Target="../media/image45.png"/><Relationship Id="rId10" Type="http://schemas.openxmlformats.org/officeDocument/2006/relationships/image" Target="../media/image49.png"/><Relationship Id="rId4" Type="http://schemas.openxmlformats.org/officeDocument/2006/relationships/image" Target="../media/image44.png"/><Relationship Id="rId9" Type="http://schemas.openxmlformats.org/officeDocument/2006/relationships/image" Target="../media/image48.png"/></Relationships>
</file>

<file path=ppt/slides/_rels/slide1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8" Type="http://schemas.openxmlformats.org/officeDocument/2006/relationships/image" Target="../media/image12.emf"/><Relationship Id="rId13" Type="http://schemas.openxmlformats.org/officeDocument/2006/relationships/image" Target="../media/image57.png"/><Relationship Id="rId3" Type="http://schemas.openxmlformats.org/officeDocument/2006/relationships/tags" Target="../tags/tag35.xml"/><Relationship Id="rId7" Type="http://schemas.openxmlformats.org/officeDocument/2006/relationships/oleObject" Target="../embeddings/oleObject2.bin"/><Relationship Id="rId12" Type="http://schemas.openxmlformats.org/officeDocument/2006/relationships/image" Target="../media/image56.png"/><Relationship Id="rId2" Type="http://schemas.openxmlformats.org/officeDocument/2006/relationships/tags" Target="../tags/tag34.xml"/><Relationship Id="rId1" Type="http://schemas.openxmlformats.org/officeDocument/2006/relationships/vmlDrawing" Target="../drawings/vmlDrawing2.vml"/><Relationship Id="rId6" Type="http://schemas.openxmlformats.org/officeDocument/2006/relationships/notesSlide" Target="../notesSlides/notesSlide18.xml"/><Relationship Id="rId11" Type="http://schemas.openxmlformats.org/officeDocument/2006/relationships/image" Target="../media/image55.png"/><Relationship Id="rId5" Type="http://schemas.openxmlformats.org/officeDocument/2006/relationships/slideLayout" Target="../slideLayouts/slideLayout4.xml"/><Relationship Id="rId10" Type="http://schemas.openxmlformats.org/officeDocument/2006/relationships/image" Target="../media/image54.png"/><Relationship Id="rId4" Type="http://schemas.openxmlformats.org/officeDocument/2006/relationships/tags" Target="../tags/tag36.xml"/><Relationship Id="rId9" Type="http://schemas.openxmlformats.org/officeDocument/2006/relationships/image" Target="../media/image53.png"/></Relationships>
</file>

<file path=ppt/slides/_rels/slide22.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tags" Target="../tags/tag48.xml"/><Relationship Id="rId18" Type="http://schemas.openxmlformats.org/officeDocument/2006/relationships/slideLayout" Target="../slideLayouts/slideLayout7.xml"/><Relationship Id="rId26" Type="http://schemas.openxmlformats.org/officeDocument/2006/relationships/image" Target="../media/image62.png"/><Relationship Id="rId3" Type="http://schemas.openxmlformats.org/officeDocument/2006/relationships/tags" Target="../tags/tag38.xml"/><Relationship Id="rId21" Type="http://schemas.openxmlformats.org/officeDocument/2006/relationships/image" Target="../media/image12.emf"/><Relationship Id="rId7" Type="http://schemas.openxmlformats.org/officeDocument/2006/relationships/tags" Target="../tags/tag42.xml"/><Relationship Id="rId12" Type="http://schemas.openxmlformats.org/officeDocument/2006/relationships/tags" Target="../tags/tag47.xml"/><Relationship Id="rId17" Type="http://schemas.openxmlformats.org/officeDocument/2006/relationships/tags" Target="../tags/tag52.xml"/><Relationship Id="rId25" Type="http://schemas.openxmlformats.org/officeDocument/2006/relationships/image" Target="../media/image61.png"/><Relationship Id="rId2" Type="http://schemas.openxmlformats.org/officeDocument/2006/relationships/tags" Target="../tags/tag37.xml"/><Relationship Id="rId16" Type="http://schemas.openxmlformats.org/officeDocument/2006/relationships/tags" Target="../tags/tag51.xml"/><Relationship Id="rId20" Type="http://schemas.openxmlformats.org/officeDocument/2006/relationships/oleObject" Target="../embeddings/oleObject3.bin"/><Relationship Id="rId1" Type="http://schemas.openxmlformats.org/officeDocument/2006/relationships/vmlDrawing" Target="../drawings/vmlDrawing3.vml"/><Relationship Id="rId6" Type="http://schemas.openxmlformats.org/officeDocument/2006/relationships/tags" Target="../tags/tag41.xml"/><Relationship Id="rId11" Type="http://schemas.openxmlformats.org/officeDocument/2006/relationships/tags" Target="../tags/tag46.xml"/><Relationship Id="rId24" Type="http://schemas.openxmlformats.org/officeDocument/2006/relationships/image" Target="../media/image60.png"/><Relationship Id="rId5" Type="http://schemas.openxmlformats.org/officeDocument/2006/relationships/tags" Target="../tags/tag40.xml"/><Relationship Id="rId15" Type="http://schemas.openxmlformats.org/officeDocument/2006/relationships/tags" Target="../tags/tag50.xml"/><Relationship Id="rId23" Type="http://schemas.openxmlformats.org/officeDocument/2006/relationships/image" Target="../media/image59.png"/><Relationship Id="rId10" Type="http://schemas.openxmlformats.org/officeDocument/2006/relationships/tags" Target="../tags/tag45.xml"/><Relationship Id="rId19" Type="http://schemas.openxmlformats.org/officeDocument/2006/relationships/notesSlide" Target="../notesSlides/notesSlide19.xml"/><Relationship Id="rId4" Type="http://schemas.openxmlformats.org/officeDocument/2006/relationships/tags" Target="../tags/tag39.xml"/><Relationship Id="rId9" Type="http://schemas.openxmlformats.org/officeDocument/2006/relationships/tags" Target="../tags/tag44.xml"/><Relationship Id="rId14" Type="http://schemas.openxmlformats.org/officeDocument/2006/relationships/tags" Target="../tags/tag49.xml"/><Relationship Id="rId22" Type="http://schemas.openxmlformats.org/officeDocument/2006/relationships/image" Target="../media/image58.png"/></Relationships>
</file>

<file path=ppt/slides/_rels/slide23.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image" Target="../media/image64.jpg"/><Relationship Id="rId2" Type="http://schemas.openxmlformats.org/officeDocument/2006/relationships/notesSlide" Target="../notesSlides/notesSlide21.xml"/><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8" Type="http://schemas.openxmlformats.org/officeDocument/2006/relationships/tags" Target="../tags/tag60.xml"/><Relationship Id="rId13" Type="http://schemas.openxmlformats.org/officeDocument/2006/relationships/tags" Target="../tags/tag65.xml"/><Relationship Id="rId3" Type="http://schemas.openxmlformats.org/officeDocument/2006/relationships/tags" Target="../tags/tag55.xml"/><Relationship Id="rId7" Type="http://schemas.openxmlformats.org/officeDocument/2006/relationships/tags" Target="../tags/tag59.xml"/><Relationship Id="rId12" Type="http://schemas.openxmlformats.org/officeDocument/2006/relationships/tags" Target="../tags/tag64.xml"/><Relationship Id="rId17" Type="http://schemas.openxmlformats.org/officeDocument/2006/relationships/hyperlink" Target="http://scaledagileframework.com/case-studies" TargetMode="External"/><Relationship Id="rId2" Type="http://schemas.openxmlformats.org/officeDocument/2006/relationships/tags" Target="../tags/tag54.xml"/><Relationship Id="rId16" Type="http://schemas.openxmlformats.org/officeDocument/2006/relationships/notesSlide" Target="../notesSlides/notesSlide29.xml"/><Relationship Id="rId1" Type="http://schemas.openxmlformats.org/officeDocument/2006/relationships/tags" Target="../tags/tag53.xml"/><Relationship Id="rId6" Type="http://schemas.openxmlformats.org/officeDocument/2006/relationships/tags" Target="../tags/tag58.xml"/><Relationship Id="rId11" Type="http://schemas.openxmlformats.org/officeDocument/2006/relationships/tags" Target="../tags/tag63.xml"/><Relationship Id="rId5" Type="http://schemas.openxmlformats.org/officeDocument/2006/relationships/tags" Target="../tags/tag57.xml"/><Relationship Id="rId15" Type="http://schemas.openxmlformats.org/officeDocument/2006/relationships/slideLayout" Target="../slideLayouts/slideLayout4.xml"/><Relationship Id="rId10" Type="http://schemas.openxmlformats.org/officeDocument/2006/relationships/tags" Target="../tags/tag62.xml"/><Relationship Id="rId4" Type="http://schemas.openxmlformats.org/officeDocument/2006/relationships/tags" Target="../tags/tag56.xml"/><Relationship Id="rId9" Type="http://schemas.openxmlformats.org/officeDocument/2006/relationships/tags" Target="../tags/tag61.xml"/><Relationship Id="rId14" Type="http://schemas.openxmlformats.org/officeDocument/2006/relationships/tags" Target="../tags/tag66.xml"/></Relationships>
</file>

<file path=ppt/slides/_rels/slide33.xml.rels><?xml version="1.0" encoding="UTF-8" standalone="yes"?>
<Relationships xmlns="http://schemas.openxmlformats.org/package/2006/relationships"><Relationship Id="rId8" Type="http://schemas.openxmlformats.org/officeDocument/2006/relationships/image" Target="../media/image74.png"/><Relationship Id="rId13" Type="http://schemas.openxmlformats.org/officeDocument/2006/relationships/hyperlink" Target="http://scaledagileframework.com/case-studies" TargetMode="External"/><Relationship Id="rId3" Type="http://schemas.openxmlformats.org/officeDocument/2006/relationships/image" Target="../media/image69.png"/><Relationship Id="rId7" Type="http://schemas.openxmlformats.org/officeDocument/2006/relationships/image" Target="../media/image73.png"/><Relationship Id="rId12" Type="http://schemas.openxmlformats.org/officeDocument/2006/relationships/image" Target="../media/image78.png"/><Relationship Id="rId2" Type="http://schemas.openxmlformats.org/officeDocument/2006/relationships/notesSlide" Target="../notesSlides/notesSlide30.xml"/><Relationship Id="rId1" Type="http://schemas.openxmlformats.org/officeDocument/2006/relationships/slideLayout" Target="../slideLayouts/slideLayout9.xml"/><Relationship Id="rId6" Type="http://schemas.openxmlformats.org/officeDocument/2006/relationships/image" Target="../media/image72.png"/><Relationship Id="rId11" Type="http://schemas.openxmlformats.org/officeDocument/2006/relationships/image" Target="../media/image77.png"/><Relationship Id="rId5" Type="http://schemas.openxmlformats.org/officeDocument/2006/relationships/image" Target="../media/image71.png"/><Relationship Id="rId10" Type="http://schemas.openxmlformats.org/officeDocument/2006/relationships/image" Target="../media/image76.png"/><Relationship Id="rId4" Type="http://schemas.openxmlformats.org/officeDocument/2006/relationships/image" Target="../media/image70.png"/><Relationship Id="rId9" Type="http://schemas.openxmlformats.org/officeDocument/2006/relationships/image" Target="../media/image75.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32.xml"/><Relationship Id="rId1" Type="http://schemas.openxmlformats.org/officeDocument/2006/relationships/slideLayout" Target="../slideLayouts/slideLayout9.xml"/><Relationship Id="rId4" Type="http://schemas.openxmlformats.org/officeDocument/2006/relationships/image" Target="../media/image80.png"/></Relationships>
</file>

<file path=ppt/slides/_rels/slide36.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33.xml"/><Relationship Id="rId1" Type="http://schemas.openxmlformats.org/officeDocument/2006/relationships/slideLayout" Target="../slideLayouts/slideLayout9.xml"/><Relationship Id="rId4" Type="http://schemas.openxmlformats.org/officeDocument/2006/relationships/image" Target="../media/image82.png"/></Relationships>
</file>

<file path=ppt/slides/_rels/slide37.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34.xml"/><Relationship Id="rId1" Type="http://schemas.openxmlformats.org/officeDocument/2006/relationships/slideLayout" Target="../slideLayouts/slideLayout11.xml"/><Relationship Id="rId5" Type="http://schemas.openxmlformats.org/officeDocument/2006/relationships/image" Target="../media/image84.emf"/><Relationship Id="rId4" Type="http://schemas.microsoft.com/office/2007/relationships/hdphoto" Target="../media/hdphoto1.wdp"/></Relationships>
</file>

<file path=ppt/slides/_rels/slide38.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35.xml"/><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8" Type="http://schemas.openxmlformats.org/officeDocument/2006/relationships/image" Target="../media/image13.jpg"/><Relationship Id="rId3" Type="http://schemas.openxmlformats.org/officeDocument/2006/relationships/tags" Target="../tags/tag2.xml"/><Relationship Id="rId7" Type="http://schemas.openxmlformats.org/officeDocument/2006/relationships/image" Target="../media/image12.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3.xml"/><Relationship Id="rId4"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png"/><Relationship Id="rId3" Type="http://schemas.openxmlformats.org/officeDocument/2006/relationships/image" Target="../media/image15.png"/><Relationship Id="rId7" Type="http://schemas.openxmlformats.org/officeDocument/2006/relationships/image" Target="../media/image19.png"/><Relationship Id="rId12" Type="http://schemas.openxmlformats.org/officeDocument/2006/relationships/image" Target="../media/image24.png"/><Relationship Id="rId2" Type="http://schemas.openxmlformats.org/officeDocument/2006/relationships/notesSlide" Target="../notesSlides/notesSlide5.xml"/><Relationship Id="rId1" Type="http://schemas.openxmlformats.org/officeDocument/2006/relationships/slideLayout" Target="../slideLayouts/slideLayout9.xml"/><Relationship Id="rId6" Type="http://schemas.openxmlformats.org/officeDocument/2006/relationships/image" Target="../media/image18.png"/><Relationship Id="rId11" Type="http://schemas.openxmlformats.org/officeDocument/2006/relationships/image" Target="../media/image23.png"/><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png"/><Relationship Id="rId14" Type="http://schemas.openxmlformats.org/officeDocument/2006/relationships/image" Target="../media/image26.png"/></Relationships>
</file>

<file path=ppt/slides/_rels/slide8.xml.rels><?xml version="1.0" encoding="UTF-8" standalone="yes"?>
<Relationships xmlns="http://schemas.openxmlformats.org/package/2006/relationships"><Relationship Id="rId3" Type="http://schemas.openxmlformats.org/officeDocument/2006/relationships/hyperlink" Target="http://scaledagileframework.com/" TargetMode="External"/><Relationship Id="rId2" Type="http://schemas.openxmlformats.org/officeDocument/2006/relationships/notesSlide" Target="../notesSlides/notesSlide6.xml"/><Relationship Id="rId1" Type="http://schemas.openxmlformats.org/officeDocument/2006/relationships/slideLayout" Target="../slideLayouts/slideLayout10.xml"/><Relationship Id="rId4" Type="http://schemas.openxmlformats.org/officeDocument/2006/relationships/image" Target="../media/image27.jpe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a:xfrm>
            <a:off x="743324" y="1206540"/>
            <a:ext cx="8585776" cy="992981"/>
          </a:xfrm>
        </p:spPr>
        <p:txBody>
          <a:bodyPr/>
          <a:lstStyle/>
          <a:p>
            <a:r>
              <a:rPr lang="en-US" sz="3300" dirty="0"/>
              <a:t>Introducing the</a:t>
            </a:r>
            <a:br>
              <a:rPr lang="en-US" sz="3300" dirty="0"/>
            </a:br>
            <a:r>
              <a:rPr lang="en-US" sz="3300" dirty="0"/>
              <a:t>Scaled Agile Framework</a:t>
            </a:r>
            <a:r>
              <a:rPr lang="en-US" sz="2000" baseline="74000" dirty="0"/>
              <a:t>®</a:t>
            </a:r>
            <a:r>
              <a:rPr lang="en-US" sz="2000" dirty="0"/>
              <a:t> </a:t>
            </a:r>
            <a:r>
              <a:rPr lang="en-US" sz="3300" dirty="0"/>
              <a:t>(SAFe</a:t>
            </a:r>
            <a:r>
              <a:rPr lang="en-US" sz="2000" baseline="74000" dirty="0"/>
              <a:t>®</a:t>
            </a:r>
            <a:r>
              <a:rPr lang="en-US" sz="3300" dirty="0"/>
              <a:t>)</a:t>
            </a:r>
            <a:r>
              <a:rPr lang="en-US" sz="3600" dirty="0"/>
              <a:t> </a:t>
            </a:r>
            <a:br>
              <a:rPr lang="en-US" sz="3600" dirty="0"/>
            </a:br>
            <a:r>
              <a:rPr lang="en-US" sz="3300" dirty="0"/>
              <a:t>for Lean Enterprises</a:t>
            </a:r>
            <a:endParaRPr lang="en-US" altLang="en-US" sz="3300" dirty="0"/>
          </a:p>
        </p:txBody>
      </p:sp>
      <p:sp>
        <p:nvSpPr>
          <p:cNvPr id="2" name="Rectangle 1"/>
          <p:cNvSpPr/>
          <p:nvPr/>
        </p:nvSpPr>
        <p:spPr bwMode="auto">
          <a:xfrm>
            <a:off x="7239916" y="4818888"/>
            <a:ext cx="724508" cy="365760"/>
          </a:xfrm>
          <a:prstGeom prst="rect">
            <a:avLst/>
          </a:prstGeom>
          <a:no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l" eaLnBrk="0" hangingPunct="0">
              <a:spcBef>
                <a:spcPct val="20000"/>
              </a:spcBef>
            </a:pPr>
            <a:r>
              <a:rPr lang="en-US" sz="800" dirty="0">
                <a:solidFill>
                  <a:schemeClr val="tx1">
                    <a:lumMod val="60000"/>
                    <a:lumOff val="40000"/>
                  </a:schemeClr>
                </a:solidFill>
              </a:rPr>
              <a:t>3/7/2018</a:t>
            </a:r>
          </a:p>
        </p:txBody>
      </p:sp>
    </p:spTree>
    <p:extLst>
      <p:ext uri="{BB962C8B-B14F-4D97-AF65-F5344CB8AC3E}">
        <p14:creationId xmlns:p14="http://schemas.microsoft.com/office/powerpoint/2010/main" val="3376270973"/>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mbrace Lean-Agile values</a:t>
            </a:r>
          </a:p>
        </p:txBody>
      </p:sp>
      <p:sp>
        <p:nvSpPr>
          <p:cNvPr id="23" name="TextBox 22"/>
          <p:cNvSpPr txBox="1"/>
          <p:nvPr/>
        </p:nvSpPr>
        <p:spPr>
          <a:xfrm>
            <a:off x="735036" y="978632"/>
            <a:ext cx="1931939" cy="415498"/>
          </a:xfrm>
          <a:prstGeom prst="rect">
            <a:avLst/>
          </a:prstGeom>
          <a:noFill/>
        </p:spPr>
        <p:txBody>
          <a:bodyPr wrap="none" rtlCol="0">
            <a:spAutoFit/>
          </a:bodyPr>
          <a:lstStyle/>
          <a:p>
            <a:pPr algn="l"/>
            <a:r>
              <a:rPr lang="en-US" sz="2100" dirty="0"/>
              <a:t>House of Lean</a:t>
            </a:r>
          </a:p>
        </p:txBody>
      </p:sp>
      <p:sp>
        <p:nvSpPr>
          <p:cNvPr id="26" name="TextBox 25"/>
          <p:cNvSpPr txBox="1"/>
          <p:nvPr/>
        </p:nvSpPr>
        <p:spPr>
          <a:xfrm>
            <a:off x="3678493" y="2228609"/>
            <a:ext cx="5315735" cy="1538883"/>
          </a:xfrm>
          <a:prstGeom prst="rect">
            <a:avLst/>
          </a:prstGeom>
          <a:noFill/>
        </p:spPr>
        <p:txBody>
          <a:bodyPr wrap="square" rtlCol="0">
            <a:spAutoFit/>
          </a:bodyPr>
          <a:lstStyle/>
          <a:p>
            <a:pPr algn="ctr">
              <a:spcAft>
                <a:spcPts val="1200"/>
              </a:spcAft>
            </a:pPr>
            <a:r>
              <a:rPr lang="en-US" sz="1600" b="1" dirty="0">
                <a:solidFill>
                  <a:schemeClr val="accent2"/>
                </a:solidFill>
              </a:rPr>
              <a:t>Individuals and interactions </a:t>
            </a:r>
            <a:r>
              <a:rPr lang="en-US" sz="1600" dirty="0">
                <a:solidFill>
                  <a:schemeClr val="bg2">
                    <a:lumMod val="50000"/>
                  </a:schemeClr>
                </a:solidFill>
              </a:rPr>
              <a:t>over processes and tools</a:t>
            </a:r>
            <a:endParaRPr lang="en-US" sz="1600" dirty="0">
              <a:solidFill>
                <a:schemeClr val="accent2"/>
              </a:solidFill>
            </a:endParaRPr>
          </a:p>
          <a:p>
            <a:pPr algn="ctr">
              <a:spcAft>
                <a:spcPts val="1200"/>
              </a:spcAft>
            </a:pPr>
            <a:r>
              <a:rPr lang="en-US" sz="1600" b="1" dirty="0">
                <a:solidFill>
                  <a:schemeClr val="accent2"/>
                </a:solidFill>
              </a:rPr>
              <a:t>Working software </a:t>
            </a:r>
            <a:r>
              <a:rPr lang="en-US" sz="1600" dirty="0">
                <a:solidFill>
                  <a:schemeClr val="bg2">
                    <a:lumMod val="50000"/>
                  </a:schemeClr>
                </a:solidFill>
              </a:rPr>
              <a:t>over comprehensive documentation</a:t>
            </a:r>
            <a:endParaRPr lang="en-US" sz="1600" dirty="0">
              <a:solidFill>
                <a:schemeClr val="accent2"/>
              </a:solidFill>
            </a:endParaRPr>
          </a:p>
          <a:p>
            <a:pPr algn="ctr">
              <a:spcAft>
                <a:spcPts val="1200"/>
              </a:spcAft>
            </a:pPr>
            <a:r>
              <a:rPr lang="en-US" sz="1600" b="1" dirty="0">
                <a:solidFill>
                  <a:schemeClr val="accent2"/>
                </a:solidFill>
              </a:rPr>
              <a:t>Customer collaboration </a:t>
            </a:r>
            <a:r>
              <a:rPr lang="en-US" sz="1600" dirty="0">
                <a:solidFill>
                  <a:schemeClr val="bg2">
                    <a:lumMod val="50000"/>
                  </a:schemeClr>
                </a:solidFill>
              </a:rPr>
              <a:t>over contract negotiation</a:t>
            </a:r>
            <a:endParaRPr lang="en-US" sz="1600" dirty="0">
              <a:solidFill>
                <a:schemeClr val="accent2"/>
              </a:solidFill>
            </a:endParaRPr>
          </a:p>
          <a:p>
            <a:pPr algn="ctr">
              <a:spcAft>
                <a:spcPts val="1200"/>
              </a:spcAft>
            </a:pPr>
            <a:r>
              <a:rPr lang="en-US" sz="1600" b="1" dirty="0">
                <a:solidFill>
                  <a:schemeClr val="accent2"/>
                </a:solidFill>
              </a:rPr>
              <a:t>Responding to change </a:t>
            </a:r>
            <a:r>
              <a:rPr lang="en-US" sz="1600" dirty="0">
                <a:solidFill>
                  <a:schemeClr val="bg2">
                    <a:lumMod val="50000"/>
                  </a:schemeClr>
                </a:solidFill>
              </a:rPr>
              <a:t>over following a plan</a:t>
            </a:r>
          </a:p>
        </p:txBody>
      </p:sp>
      <p:sp>
        <p:nvSpPr>
          <p:cNvPr id="27" name="TextBox 26"/>
          <p:cNvSpPr txBox="1"/>
          <p:nvPr/>
        </p:nvSpPr>
        <p:spPr>
          <a:xfrm>
            <a:off x="5325507" y="978632"/>
            <a:ext cx="2021707" cy="415498"/>
          </a:xfrm>
          <a:prstGeom prst="rect">
            <a:avLst/>
          </a:prstGeom>
          <a:noFill/>
        </p:spPr>
        <p:txBody>
          <a:bodyPr wrap="none" rtlCol="0">
            <a:spAutoFit/>
          </a:bodyPr>
          <a:lstStyle/>
          <a:p>
            <a:pPr algn="l"/>
            <a:r>
              <a:rPr lang="en-US" sz="2100" dirty="0"/>
              <a:t>Agile Manifesto</a:t>
            </a:r>
          </a:p>
        </p:txBody>
      </p:sp>
      <p:cxnSp>
        <p:nvCxnSpPr>
          <p:cNvPr id="28" name="Straight Connector 27"/>
          <p:cNvCxnSpPr/>
          <p:nvPr/>
        </p:nvCxnSpPr>
        <p:spPr bwMode="auto">
          <a:xfrm>
            <a:off x="3454914" y="978632"/>
            <a:ext cx="0" cy="3641076"/>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29" name="Rounded Rectangle 28"/>
          <p:cNvSpPr/>
          <p:nvPr/>
        </p:nvSpPr>
        <p:spPr bwMode="auto">
          <a:xfrm rot="5400000">
            <a:off x="1469080" y="2344722"/>
            <a:ext cx="463850" cy="2483379"/>
          </a:xfrm>
          <a:prstGeom prst="roundRect">
            <a:avLst>
              <a:gd name="adj" fmla="val 4561"/>
            </a:avLst>
          </a:prstGeom>
          <a:solidFill>
            <a:schemeClr val="tx1"/>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900" i="1" dirty="0">
              <a:latin typeface="Arial"/>
              <a:cs typeface="Arial"/>
            </a:endParaRPr>
          </a:p>
        </p:txBody>
      </p:sp>
      <p:sp>
        <p:nvSpPr>
          <p:cNvPr id="30" name="TextBox 29"/>
          <p:cNvSpPr txBox="1"/>
          <p:nvPr/>
        </p:nvSpPr>
        <p:spPr>
          <a:xfrm>
            <a:off x="463819" y="3457378"/>
            <a:ext cx="2474373" cy="381240"/>
          </a:xfrm>
          <a:prstGeom prst="rect">
            <a:avLst/>
          </a:prstGeom>
          <a:solidFill>
            <a:schemeClr val="bg1">
              <a:alpha val="0"/>
            </a:schemeClr>
          </a:solidFill>
          <a:ln>
            <a:solidFill>
              <a:schemeClr val="bg1">
                <a:alpha val="0"/>
              </a:schemeClr>
            </a:solidFill>
          </a:ln>
        </p:spPr>
        <p:txBody>
          <a:bodyPr wrap="square" rtlCol="0">
            <a:spAutoFit/>
          </a:bodyPr>
          <a:lstStyle/>
          <a:p>
            <a:pPr algn="ctr"/>
            <a:r>
              <a:rPr lang="en-US" sz="1500" dirty="0">
                <a:solidFill>
                  <a:srgbClr val="FFFFFF"/>
                </a:solidFill>
                <a:latin typeface="Arial"/>
                <a:cs typeface="Arial"/>
              </a:rPr>
              <a:t>LEADERSHIP</a:t>
            </a:r>
          </a:p>
        </p:txBody>
      </p:sp>
      <p:sp>
        <p:nvSpPr>
          <p:cNvPr id="31" name="Rounded Rectangle 30"/>
          <p:cNvSpPr/>
          <p:nvPr/>
        </p:nvSpPr>
        <p:spPr bwMode="auto">
          <a:xfrm>
            <a:off x="554517" y="1853104"/>
            <a:ext cx="492635" cy="1560826"/>
          </a:xfrm>
          <a:prstGeom prst="roundRect">
            <a:avLst>
              <a:gd name="adj" fmla="val 4561"/>
            </a:avLst>
          </a:prstGeom>
          <a:solidFill>
            <a:schemeClr val="tx1">
              <a:lumMod val="20000"/>
              <a:lumOff val="80000"/>
            </a:schemeClr>
          </a:solidFill>
          <a:ln w="19050" cap="flat" cmpd="sng" algn="ctr">
            <a:solidFill>
              <a:schemeClr val="tx1">
                <a:lumMod val="40000"/>
                <a:lumOff val="60000"/>
              </a:schemeClr>
            </a:solid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900" i="1" dirty="0">
              <a:latin typeface="Arial"/>
              <a:cs typeface="Arial"/>
            </a:endParaRPr>
          </a:p>
        </p:txBody>
      </p:sp>
      <p:sp>
        <p:nvSpPr>
          <p:cNvPr id="32" name="Rounded Rectangle 31"/>
          <p:cNvSpPr/>
          <p:nvPr/>
        </p:nvSpPr>
        <p:spPr bwMode="auto">
          <a:xfrm>
            <a:off x="1136754" y="1853104"/>
            <a:ext cx="492635" cy="1560826"/>
          </a:xfrm>
          <a:prstGeom prst="roundRect">
            <a:avLst>
              <a:gd name="adj" fmla="val 4561"/>
            </a:avLst>
          </a:prstGeom>
          <a:solidFill>
            <a:schemeClr val="tx1">
              <a:lumMod val="20000"/>
              <a:lumOff val="80000"/>
            </a:schemeClr>
          </a:solidFill>
          <a:ln w="19050" cap="flat" cmpd="sng" algn="ctr">
            <a:solidFill>
              <a:schemeClr val="tx1">
                <a:lumMod val="40000"/>
                <a:lumOff val="60000"/>
              </a:schemeClr>
            </a:solid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900" i="1" dirty="0">
              <a:latin typeface="Arial"/>
              <a:cs typeface="Arial"/>
            </a:endParaRPr>
          </a:p>
        </p:txBody>
      </p:sp>
      <p:sp>
        <p:nvSpPr>
          <p:cNvPr id="33" name="Rounded Rectangle 32"/>
          <p:cNvSpPr/>
          <p:nvPr/>
        </p:nvSpPr>
        <p:spPr bwMode="auto">
          <a:xfrm>
            <a:off x="1718991" y="1853104"/>
            <a:ext cx="492635" cy="1560826"/>
          </a:xfrm>
          <a:prstGeom prst="roundRect">
            <a:avLst>
              <a:gd name="adj" fmla="val 4561"/>
            </a:avLst>
          </a:prstGeom>
          <a:solidFill>
            <a:schemeClr val="tx1">
              <a:lumMod val="20000"/>
              <a:lumOff val="80000"/>
            </a:schemeClr>
          </a:solidFill>
          <a:ln w="19050" cap="flat" cmpd="sng" algn="ctr">
            <a:solidFill>
              <a:schemeClr val="tx1">
                <a:lumMod val="40000"/>
                <a:lumOff val="60000"/>
              </a:schemeClr>
            </a:solid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900" i="1" dirty="0">
              <a:latin typeface="Arial"/>
              <a:cs typeface="Arial"/>
            </a:endParaRPr>
          </a:p>
        </p:txBody>
      </p:sp>
      <p:sp>
        <p:nvSpPr>
          <p:cNvPr id="34" name="Rounded Rectangle 33"/>
          <p:cNvSpPr/>
          <p:nvPr/>
        </p:nvSpPr>
        <p:spPr bwMode="auto">
          <a:xfrm>
            <a:off x="2301228" y="1853104"/>
            <a:ext cx="492635" cy="1560826"/>
          </a:xfrm>
          <a:prstGeom prst="roundRect">
            <a:avLst>
              <a:gd name="adj" fmla="val 4561"/>
            </a:avLst>
          </a:prstGeom>
          <a:solidFill>
            <a:schemeClr val="tx1">
              <a:lumMod val="20000"/>
              <a:lumOff val="80000"/>
            </a:schemeClr>
          </a:solidFill>
          <a:ln w="19050" cap="flat" cmpd="sng" algn="ctr">
            <a:solidFill>
              <a:schemeClr val="tx1">
                <a:lumMod val="40000"/>
                <a:lumOff val="60000"/>
              </a:schemeClr>
            </a:solid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900" i="1" dirty="0">
              <a:latin typeface="Arial"/>
              <a:cs typeface="Arial"/>
            </a:endParaRPr>
          </a:p>
        </p:txBody>
      </p:sp>
      <p:sp>
        <p:nvSpPr>
          <p:cNvPr id="35" name="TextBox 34"/>
          <p:cNvSpPr txBox="1"/>
          <p:nvPr/>
        </p:nvSpPr>
        <p:spPr>
          <a:xfrm rot="16200000">
            <a:off x="78521" y="2412580"/>
            <a:ext cx="1444627" cy="461665"/>
          </a:xfrm>
          <a:prstGeom prst="rect">
            <a:avLst/>
          </a:prstGeom>
          <a:noFill/>
        </p:spPr>
        <p:txBody>
          <a:bodyPr wrap="none" rtlCol="0">
            <a:spAutoFit/>
          </a:bodyPr>
          <a:lstStyle/>
          <a:p>
            <a:pPr algn="ctr"/>
            <a:r>
              <a:rPr lang="en-US" sz="1200" dirty="0">
                <a:latin typeface="Arial"/>
                <a:cs typeface="Arial"/>
              </a:rPr>
              <a:t>Respect for</a:t>
            </a:r>
          </a:p>
          <a:p>
            <a:pPr algn="ctr"/>
            <a:r>
              <a:rPr lang="en-US" sz="1200" dirty="0">
                <a:latin typeface="Arial"/>
                <a:cs typeface="Arial"/>
              </a:rPr>
              <a:t>people and culture</a:t>
            </a:r>
          </a:p>
        </p:txBody>
      </p:sp>
      <p:sp>
        <p:nvSpPr>
          <p:cNvPr id="36" name="TextBox 35"/>
          <p:cNvSpPr txBox="1"/>
          <p:nvPr/>
        </p:nvSpPr>
        <p:spPr>
          <a:xfrm rot="16200000">
            <a:off x="1128833" y="2504913"/>
            <a:ext cx="508473" cy="276999"/>
          </a:xfrm>
          <a:prstGeom prst="rect">
            <a:avLst/>
          </a:prstGeom>
          <a:noFill/>
        </p:spPr>
        <p:txBody>
          <a:bodyPr wrap="none" rtlCol="0">
            <a:spAutoFit/>
          </a:bodyPr>
          <a:lstStyle/>
          <a:p>
            <a:pPr algn="ctr"/>
            <a:r>
              <a:rPr lang="en-US" sz="1200" dirty="0">
                <a:latin typeface="Arial"/>
                <a:cs typeface="Arial"/>
              </a:rPr>
              <a:t>Flow</a:t>
            </a:r>
          </a:p>
        </p:txBody>
      </p:sp>
      <p:sp>
        <p:nvSpPr>
          <p:cNvPr id="37" name="TextBox 36"/>
          <p:cNvSpPr txBox="1"/>
          <p:nvPr/>
        </p:nvSpPr>
        <p:spPr>
          <a:xfrm rot="16200000">
            <a:off x="1519512" y="2504913"/>
            <a:ext cx="891591" cy="276999"/>
          </a:xfrm>
          <a:prstGeom prst="rect">
            <a:avLst/>
          </a:prstGeom>
          <a:noFill/>
        </p:spPr>
        <p:txBody>
          <a:bodyPr wrap="none" rtlCol="0">
            <a:spAutoFit/>
          </a:bodyPr>
          <a:lstStyle/>
          <a:p>
            <a:pPr algn="ctr"/>
            <a:r>
              <a:rPr lang="en-US" sz="1200" dirty="0">
                <a:latin typeface="Arial"/>
                <a:cs typeface="Arial"/>
              </a:rPr>
              <a:t>Innovation</a:t>
            </a:r>
          </a:p>
        </p:txBody>
      </p:sp>
      <p:sp>
        <p:nvSpPr>
          <p:cNvPr id="38" name="TextBox 37"/>
          <p:cNvSpPr txBox="1"/>
          <p:nvPr/>
        </p:nvSpPr>
        <p:spPr>
          <a:xfrm rot="16200000">
            <a:off x="2011983" y="2412580"/>
            <a:ext cx="1071127" cy="461665"/>
          </a:xfrm>
          <a:prstGeom prst="rect">
            <a:avLst/>
          </a:prstGeom>
          <a:noFill/>
        </p:spPr>
        <p:txBody>
          <a:bodyPr wrap="none" rtlCol="0">
            <a:spAutoFit/>
          </a:bodyPr>
          <a:lstStyle/>
          <a:p>
            <a:pPr algn="ctr"/>
            <a:r>
              <a:rPr lang="en-US" sz="1200" dirty="0">
                <a:latin typeface="Arial"/>
                <a:cs typeface="Arial"/>
              </a:rPr>
              <a:t>Relentless</a:t>
            </a:r>
          </a:p>
          <a:p>
            <a:pPr algn="ctr"/>
            <a:r>
              <a:rPr lang="en-US" sz="1200" dirty="0">
                <a:latin typeface="Arial"/>
                <a:cs typeface="Arial"/>
              </a:rPr>
              <a:t>improvement</a:t>
            </a:r>
          </a:p>
        </p:txBody>
      </p:sp>
      <p:sp>
        <p:nvSpPr>
          <p:cNvPr id="39" name="Trapezoid 38"/>
          <p:cNvSpPr/>
          <p:nvPr/>
        </p:nvSpPr>
        <p:spPr bwMode="auto">
          <a:xfrm>
            <a:off x="343825" y="1494095"/>
            <a:ext cx="2714360" cy="411470"/>
          </a:xfrm>
          <a:prstGeom prst="trapezoid">
            <a:avLst>
              <a:gd name="adj" fmla="val 93424"/>
            </a:avLst>
          </a:prstGeom>
          <a:solidFill>
            <a:schemeClr val="accent5"/>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r>
              <a:rPr lang="en-US" sz="900" i="1" dirty="0">
                <a:latin typeface="Arial"/>
                <a:cs typeface="Arial"/>
              </a:rPr>
              <a:t>   </a:t>
            </a:r>
          </a:p>
        </p:txBody>
      </p:sp>
      <p:sp>
        <p:nvSpPr>
          <p:cNvPr id="40" name="TextBox 39"/>
          <p:cNvSpPr txBox="1"/>
          <p:nvPr/>
        </p:nvSpPr>
        <p:spPr>
          <a:xfrm>
            <a:off x="1227935" y="1515082"/>
            <a:ext cx="946141" cy="381240"/>
          </a:xfrm>
          <a:prstGeom prst="rect">
            <a:avLst/>
          </a:prstGeom>
          <a:noFill/>
        </p:spPr>
        <p:txBody>
          <a:bodyPr wrap="none" rtlCol="0">
            <a:spAutoFit/>
          </a:bodyPr>
          <a:lstStyle/>
          <a:p>
            <a:pPr algn="l"/>
            <a:r>
              <a:rPr lang="en-US" sz="1500" dirty="0">
                <a:solidFill>
                  <a:srgbClr val="FFFFFF"/>
                </a:solidFill>
                <a:latin typeface="Arial"/>
                <a:cs typeface="Arial"/>
              </a:rPr>
              <a:t>VALUE</a:t>
            </a:r>
          </a:p>
        </p:txBody>
      </p:sp>
      <p:sp>
        <p:nvSpPr>
          <p:cNvPr id="41" name="TextBox 40"/>
          <p:cNvSpPr txBox="1"/>
          <p:nvPr/>
        </p:nvSpPr>
        <p:spPr>
          <a:xfrm>
            <a:off x="214219" y="3882066"/>
            <a:ext cx="2973572" cy="553998"/>
          </a:xfrm>
          <a:prstGeom prst="rect">
            <a:avLst/>
          </a:prstGeom>
          <a:noFill/>
        </p:spPr>
        <p:txBody>
          <a:bodyPr wrap="square" rtlCol="0">
            <a:spAutoFit/>
          </a:bodyPr>
          <a:lstStyle/>
          <a:p>
            <a:pPr algn="ctr"/>
            <a:r>
              <a:rPr lang="en-US" sz="1500" dirty="0"/>
              <a:t>Value in the shortest</a:t>
            </a:r>
          </a:p>
          <a:p>
            <a:pPr algn="ctr"/>
            <a:r>
              <a:rPr lang="en-US" sz="1500" dirty="0"/>
              <a:t>sustainable lead time</a:t>
            </a:r>
          </a:p>
        </p:txBody>
      </p:sp>
      <p:sp>
        <p:nvSpPr>
          <p:cNvPr id="42" name="TextBox 41"/>
          <p:cNvSpPr txBox="1"/>
          <p:nvPr/>
        </p:nvSpPr>
        <p:spPr>
          <a:xfrm>
            <a:off x="4676942" y="3943621"/>
            <a:ext cx="3318836" cy="461665"/>
          </a:xfrm>
          <a:prstGeom prst="rect">
            <a:avLst/>
          </a:prstGeom>
          <a:noFill/>
        </p:spPr>
        <p:txBody>
          <a:bodyPr wrap="square" rtlCol="0">
            <a:spAutoFit/>
          </a:bodyPr>
          <a:lstStyle/>
          <a:p>
            <a:pPr algn="ctr"/>
            <a:r>
              <a:rPr lang="en-US" sz="1200" i="1" dirty="0">
                <a:solidFill>
                  <a:schemeClr val="bg2">
                    <a:lumMod val="50000"/>
                  </a:schemeClr>
                </a:solidFill>
              </a:rPr>
              <a:t>That is, while there is value in the items on the right, we value the items on the left more.</a:t>
            </a:r>
          </a:p>
        </p:txBody>
      </p:sp>
      <p:sp>
        <p:nvSpPr>
          <p:cNvPr id="43" name="TextBox 42"/>
          <p:cNvSpPr txBox="1"/>
          <p:nvPr/>
        </p:nvSpPr>
        <p:spPr>
          <a:xfrm>
            <a:off x="3827724" y="1561557"/>
            <a:ext cx="5017273" cy="461665"/>
          </a:xfrm>
          <a:prstGeom prst="rect">
            <a:avLst/>
          </a:prstGeom>
          <a:noFill/>
        </p:spPr>
        <p:txBody>
          <a:bodyPr wrap="square" rtlCol="0">
            <a:spAutoFit/>
          </a:bodyPr>
          <a:lstStyle/>
          <a:p>
            <a:pPr algn="ctr"/>
            <a:r>
              <a:rPr lang="en-US" sz="1200" i="1" dirty="0"/>
              <a:t>We are uncovering better ways of developing software by doing it and helping others do it. Through this work we have come to value:</a:t>
            </a:r>
          </a:p>
        </p:txBody>
      </p:sp>
    </p:spTree>
    <p:extLst>
      <p:ext uri="{BB962C8B-B14F-4D97-AF65-F5344CB8AC3E}">
        <p14:creationId xmlns:p14="http://schemas.microsoft.com/office/powerpoint/2010/main" val="23899001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a:xfrm>
            <a:off x="772510" y="1018346"/>
            <a:ext cx="7796049" cy="3699474"/>
          </a:xfrm>
          <a:prstGeom prst="rect">
            <a:avLst/>
          </a:prstGeom>
        </p:spPr>
        <p:txBody>
          <a:bodyPr wrap="square">
            <a:spAutoFit/>
          </a:bodyPr>
          <a:lstStyle/>
          <a:p>
            <a:pPr algn="ctr">
              <a:lnSpc>
                <a:spcPct val="120000"/>
              </a:lnSpc>
              <a:spcBef>
                <a:spcPts val="300"/>
              </a:spcBef>
              <a:spcAft>
                <a:spcPts val="300"/>
              </a:spcAft>
            </a:pPr>
            <a:r>
              <a:rPr lang="en-US" dirty="0">
                <a:latin typeface="Arial"/>
                <a:cs typeface="Arial"/>
              </a:rPr>
              <a:t>#1 - Take an economic view</a:t>
            </a:r>
          </a:p>
          <a:p>
            <a:pPr algn="ctr">
              <a:lnSpc>
                <a:spcPct val="120000"/>
              </a:lnSpc>
              <a:spcBef>
                <a:spcPts val="300"/>
              </a:spcBef>
              <a:spcAft>
                <a:spcPts val="300"/>
              </a:spcAft>
            </a:pPr>
            <a:r>
              <a:rPr lang="en-US" dirty="0">
                <a:latin typeface="Arial"/>
                <a:cs typeface="Arial"/>
              </a:rPr>
              <a:t>#2 - Apply systems thinking</a:t>
            </a:r>
          </a:p>
          <a:p>
            <a:pPr algn="ctr">
              <a:lnSpc>
                <a:spcPct val="120000"/>
              </a:lnSpc>
              <a:spcBef>
                <a:spcPts val="300"/>
              </a:spcBef>
              <a:spcAft>
                <a:spcPts val="300"/>
              </a:spcAft>
            </a:pPr>
            <a:r>
              <a:rPr lang="en-US" dirty="0">
                <a:latin typeface="Arial"/>
                <a:cs typeface="Arial"/>
              </a:rPr>
              <a:t>#3 - Assume variability; preserve options</a:t>
            </a:r>
          </a:p>
          <a:p>
            <a:pPr algn="ctr">
              <a:lnSpc>
                <a:spcPct val="120000"/>
              </a:lnSpc>
              <a:spcBef>
                <a:spcPts val="300"/>
              </a:spcBef>
              <a:spcAft>
                <a:spcPts val="300"/>
              </a:spcAft>
            </a:pPr>
            <a:r>
              <a:rPr lang="en-US" dirty="0">
                <a:latin typeface="Arial"/>
                <a:cs typeface="Arial"/>
              </a:rPr>
              <a:t>#4 - Build incrementally with fast, integrated learning cycles</a:t>
            </a:r>
          </a:p>
          <a:p>
            <a:pPr algn="ctr">
              <a:lnSpc>
                <a:spcPct val="120000"/>
              </a:lnSpc>
              <a:spcBef>
                <a:spcPts val="300"/>
              </a:spcBef>
              <a:spcAft>
                <a:spcPts val="300"/>
              </a:spcAft>
            </a:pPr>
            <a:r>
              <a:rPr lang="en-US" dirty="0">
                <a:latin typeface="Arial"/>
                <a:cs typeface="Arial"/>
              </a:rPr>
              <a:t>#5 - Base milestones on objective evaluation of working systems</a:t>
            </a:r>
          </a:p>
          <a:p>
            <a:pPr algn="ctr">
              <a:lnSpc>
                <a:spcPct val="120000"/>
              </a:lnSpc>
              <a:spcBef>
                <a:spcPts val="300"/>
              </a:spcBef>
              <a:spcAft>
                <a:spcPts val="300"/>
              </a:spcAft>
            </a:pPr>
            <a:r>
              <a:rPr lang="en-US" spc="-45" dirty="0">
                <a:latin typeface="Arial"/>
                <a:cs typeface="Arial"/>
              </a:rPr>
              <a:t>#6 - Visualize and limit WIP, reduce batch sizes, and manage queue lengths </a:t>
            </a:r>
          </a:p>
          <a:p>
            <a:pPr algn="ctr">
              <a:lnSpc>
                <a:spcPct val="120000"/>
              </a:lnSpc>
              <a:spcBef>
                <a:spcPts val="300"/>
              </a:spcBef>
              <a:spcAft>
                <a:spcPts val="300"/>
              </a:spcAft>
            </a:pPr>
            <a:r>
              <a:rPr lang="en-US" dirty="0">
                <a:latin typeface="Arial"/>
                <a:cs typeface="Arial"/>
              </a:rPr>
              <a:t>#7 - Apply cadence, synchronize with cross-domain planning</a:t>
            </a:r>
          </a:p>
          <a:p>
            <a:pPr algn="ctr">
              <a:lnSpc>
                <a:spcPct val="120000"/>
              </a:lnSpc>
              <a:spcBef>
                <a:spcPts val="300"/>
              </a:spcBef>
              <a:spcAft>
                <a:spcPts val="300"/>
              </a:spcAft>
            </a:pPr>
            <a:r>
              <a:rPr lang="en-US" dirty="0">
                <a:latin typeface="Arial"/>
                <a:cs typeface="Arial"/>
              </a:rPr>
              <a:t>#8 - Unlock the intrinsic motivation of knowledge workers</a:t>
            </a:r>
          </a:p>
          <a:p>
            <a:pPr algn="ctr">
              <a:lnSpc>
                <a:spcPct val="120000"/>
              </a:lnSpc>
              <a:spcBef>
                <a:spcPts val="300"/>
              </a:spcBef>
              <a:spcAft>
                <a:spcPts val="300"/>
              </a:spcAft>
            </a:pPr>
            <a:r>
              <a:rPr lang="en-US" dirty="0">
                <a:latin typeface="Arial"/>
                <a:cs typeface="Arial"/>
              </a:rPr>
              <a:t>#9 - Decentralize decision-making</a:t>
            </a:r>
          </a:p>
        </p:txBody>
      </p:sp>
      <p:sp>
        <p:nvSpPr>
          <p:cNvPr id="5" name="Round Same Side Corner Rectangle 4"/>
          <p:cNvSpPr/>
          <p:nvPr/>
        </p:nvSpPr>
        <p:spPr bwMode="auto">
          <a:xfrm rot="10800000">
            <a:off x="0" y="-2"/>
            <a:ext cx="9144000" cy="764629"/>
          </a:xfrm>
          <a:prstGeom prst="round2SameRect">
            <a:avLst/>
          </a:prstGeom>
          <a:solidFill>
            <a:schemeClr val="accent1"/>
          </a:solidFill>
          <a:ln w="25400" cap="flat" cmpd="sng" algn="ctr">
            <a:noFill/>
            <a:prstDash val="solid"/>
            <a:round/>
            <a:headEnd type="none" w="med" len="med"/>
            <a:tailEnd type="none" w="med" len="med"/>
          </a:ln>
          <a:effectLst/>
        </p:spPr>
        <p:txBody>
          <a:bodyPr rot="0" spcFirstLastPara="0" vertOverflow="overflow" horzOverflow="overflow" vert="horz" wrap="square" lIns="68580" tIns="68580" rIns="68580" bIns="68580" numCol="1" spcCol="0" rtlCol="0" fromWordArt="0" anchor="t" anchorCtr="0" forceAA="0" compatLnSpc="1">
            <a:prstTxWarp prst="textNoShape">
              <a:avLst/>
            </a:prstTxWarp>
            <a:noAutofit/>
          </a:bodyPr>
          <a:lstStyle/>
          <a:p>
            <a:pPr algn="ctr">
              <a:lnSpc>
                <a:spcPts val="2955"/>
              </a:lnSpc>
            </a:pPr>
            <a:endParaRPr lang="en-US" sz="1950" dirty="0">
              <a:solidFill>
                <a:srgbClr val="F79637">
                  <a:lumMod val="75000"/>
                </a:srgbClr>
              </a:solidFill>
              <a:latin typeface="Arial"/>
              <a:cs typeface="Arial"/>
            </a:endParaRPr>
          </a:p>
        </p:txBody>
      </p:sp>
      <p:sp>
        <p:nvSpPr>
          <p:cNvPr id="8" name="TextBox 7"/>
          <p:cNvSpPr txBox="1"/>
          <p:nvPr/>
        </p:nvSpPr>
        <p:spPr>
          <a:xfrm>
            <a:off x="1140345" y="143785"/>
            <a:ext cx="6863310" cy="477054"/>
          </a:xfrm>
          <a:prstGeom prst="rect">
            <a:avLst/>
          </a:prstGeom>
          <a:noFill/>
        </p:spPr>
        <p:txBody>
          <a:bodyPr wrap="square" rtlCol="0" anchor="ctr">
            <a:spAutoFit/>
          </a:bodyPr>
          <a:lstStyle/>
          <a:p>
            <a:pPr algn="ctr">
              <a:lnSpc>
                <a:spcPts val="2955"/>
              </a:lnSpc>
            </a:pPr>
            <a:r>
              <a:rPr lang="en-US" sz="2400" dirty="0">
                <a:solidFill>
                  <a:schemeClr val="bg1"/>
                </a:solidFill>
                <a:latin typeface="Arial"/>
                <a:cs typeface="Arial"/>
              </a:rPr>
              <a:t>SAFe Lean-Agile Principles</a:t>
            </a:r>
          </a:p>
        </p:txBody>
      </p:sp>
      <p:cxnSp>
        <p:nvCxnSpPr>
          <p:cNvPr id="19" name="Straight Connector 18"/>
          <p:cNvCxnSpPr/>
          <p:nvPr/>
        </p:nvCxnSpPr>
        <p:spPr bwMode="auto">
          <a:xfrm>
            <a:off x="3271345" y="1427442"/>
            <a:ext cx="2798380" cy="0"/>
          </a:xfrm>
          <a:prstGeom prst="line">
            <a:avLst/>
          </a:prstGeom>
          <a:solidFill>
            <a:schemeClr val="accent1"/>
          </a:solidFill>
          <a:ln w="19050" cap="flat" cmpd="sng" algn="ctr">
            <a:solidFill>
              <a:schemeClr val="bg1">
                <a:lumMod val="75000"/>
              </a:schemeClr>
            </a:solidFill>
            <a:prstDash val="solid"/>
            <a:round/>
            <a:headEnd type="none" w="med" len="med"/>
            <a:tailEnd type="none" w="med" len="med"/>
          </a:ln>
          <a:effectLst/>
        </p:spPr>
      </p:cxnSp>
      <p:cxnSp>
        <p:nvCxnSpPr>
          <p:cNvPr id="17" name="Straight Connector 16"/>
          <p:cNvCxnSpPr/>
          <p:nvPr/>
        </p:nvCxnSpPr>
        <p:spPr bwMode="auto">
          <a:xfrm>
            <a:off x="3271345" y="1837754"/>
            <a:ext cx="2798380" cy="0"/>
          </a:xfrm>
          <a:prstGeom prst="line">
            <a:avLst/>
          </a:prstGeom>
          <a:solidFill>
            <a:schemeClr val="accent1"/>
          </a:solidFill>
          <a:ln w="19050" cap="flat" cmpd="sng" algn="ctr">
            <a:solidFill>
              <a:schemeClr val="bg1">
                <a:lumMod val="75000"/>
              </a:schemeClr>
            </a:solidFill>
            <a:prstDash val="solid"/>
            <a:round/>
            <a:headEnd type="none" w="med" len="med"/>
            <a:tailEnd type="none" w="med" len="med"/>
          </a:ln>
          <a:effectLst/>
        </p:spPr>
      </p:cxnSp>
      <p:cxnSp>
        <p:nvCxnSpPr>
          <p:cNvPr id="29" name="Straight Connector 28"/>
          <p:cNvCxnSpPr/>
          <p:nvPr/>
        </p:nvCxnSpPr>
        <p:spPr bwMode="auto">
          <a:xfrm>
            <a:off x="2556642" y="2248066"/>
            <a:ext cx="4230413" cy="0"/>
          </a:xfrm>
          <a:prstGeom prst="line">
            <a:avLst/>
          </a:prstGeom>
          <a:solidFill>
            <a:schemeClr val="accent1"/>
          </a:solidFill>
          <a:ln w="19050" cap="flat" cmpd="sng" algn="ctr">
            <a:solidFill>
              <a:schemeClr val="bg1">
                <a:lumMod val="75000"/>
              </a:schemeClr>
            </a:solidFill>
            <a:prstDash val="solid"/>
            <a:round/>
            <a:headEnd type="none" w="med" len="med"/>
            <a:tailEnd type="none" w="med" len="med"/>
          </a:ln>
          <a:effectLst/>
        </p:spPr>
      </p:cxnSp>
      <p:cxnSp>
        <p:nvCxnSpPr>
          <p:cNvPr id="30" name="Straight Connector 29"/>
          <p:cNvCxnSpPr/>
          <p:nvPr/>
        </p:nvCxnSpPr>
        <p:spPr bwMode="auto">
          <a:xfrm>
            <a:off x="1629104" y="2658378"/>
            <a:ext cx="6119648" cy="0"/>
          </a:xfrm>
          <a:prstGeom prst="line">
            <a:avLst/>
          </a:prstGeom>
          <a:solidFill>
            <a:schemeClr val="accent1"/>
          </a:solidFill>
          <a:ln w="19050" cap="flat" cmpd="sng" algn="ctr">
            <a:solidFill>
              <a:schemeClr val="bg1">
                <a:lumMod val="75000"/>
              </a:schemeClr>
            </a:solidFill>
            <a:prstDash val="solid"/>
            <a:round/>
            <a:headEnd type="none" w="med" len="med"/>
            <a:tailEnd type="none" w="med" len="med"/>
          </a:ln>
          <a:effectLst/>
        </p:spPr>
      </p:cxnSp>
      <p:cxnSp>
        <p:nvCxnSpPr>
          <p:cNvPr id="31" name="Straight Connector 30"/>
          <p:cNvCxnSpPr/>
          <p:nvPr/>
        </p:nvCxnSpPr>
        <p:spPr bwMode="auto">
          <a:xfrm>
            <a:off x="1361090" y="3068690"/>
            <a:ext cx="6642565" cy="0"/>
          </a:xfrm>
          <a:prstGeom prst="line">
            <a:avLst/>
          </a:prstGeom>
          <a:solidFill>
            <a:schemeClr val="accent1"/>
          </a:solidFill>
          <a:ln w="19050" cap="flat" cmpd="sng" algn="ctr">
            <a:solidFill>
              <a:schemeClr val="bg1">
                <a:lumMod val="75000"/>
              </a:schemeClr>
            </a:solidFill>
            <a:prstDash val="solid"/>
            <a:round/>
            <a:headEnd type="none" w="med" len="med"/>
            <a:tailEnd type="none" w="med" len="med"/>
          </a:ln>
          <a:effectLst/>
        </p:spPr>
      </p:cxnSp>
      <p:cxnSp>
        <p:nvCxnSpPr>
          <p:cNvPr id="32" name="Straight Connector 31"/>
          <p:cNvCxnSpPr/>
          <p:nvPr/>
        </p:nvCxnSpPr>
        <p:spPr bwMode="auto">
          <a:xfrm>
            <a:off x="1016876" y="3479002"/>
            <a:ext cx="7275786" cy="0"/>
          </a:xfrm>
          <a:prstGeom prst="line">
            <a:avLst/>
          </a:prstGeom>
          <a:solidFill>
            <a:schemeClr val="accent1"/>
          </a:solidFill>
          <a:ln w="19050" cap="flat" cmpd="sng" algn="ctr">
            <a:solidFill>
              <a:schemeClr val="bg1">
                <a:lumMod val="75000"/>
              </a:schemeClr>
            </a:solidFill>
            <a:prstDash val="solid"/>
            <a:round/>
            <a:headEnd type="none" w="med" len="med"/>
            <a:tailEnd type="none" w="med" len="med"/>
          </a:ln>
          <a:effectLst/>
        </p:spPr>
      </p:cxnSp>
      <p:cxnSp>
        <p:nvCxnSpPr>
          <p:cNvPr id="33" name="Straight Connector 32"/>
          <p:cNvCxnSpPr/>
          <p:nvPr/>
        </p:nvCxnSpPr>
        <p:spPr bwMode="auto">
          <a:xfrm>
            <a:off x="1629104" y="3889314"/>
            <a:ext cx="6119648" cy="0"/>
          </a:xfrm>
          <a:prstGeom prst="line">
            <a:avLst/>
          </a:prstGeom>
          <a:solidFill>
            <a:schemeClr val="accent1"/>
          </a:solidFill>
          <a:ln w="19050" cap="flat" cmpd="sng" algn="ctr">
            <a:solidFill>
              <a:schemeClr val="bg1">
                <a:lumMod val="75000"/>
              </a:schemeClr>
            </a:solidFill>
            <a:prstDash val="solid"/>
            <a:round/>
            <a:headEnd type="none" w="med" len="med"/>
            <a:tailEnd type="none" w="med" len="med"/>
          </a:ln>
          <a:effectLst/>
        </p:spPr>
      </p:cxnSp>
      <p:cxnSp>
        <p:nvCxnSpPr>
          <p:cNvPr id="34" name="Straight Connector 33"/>
          <p:cNvCxnSpPr/>
          <p:nvPr/>
        </p:nvCxnSpPr>
        <p:spPr bwMode="auto">
          <a:xfrm>
            <a:off x="1813035" y="4299626"/>
            <a:ext cx="5722882" cy="0"/>
          </a:xfrm>
          <a:prstGeom prst="line">
            <a:avLst/>
          </a:prstGeom>
          <a:solidFill>
            <a:schemeClr val="accent1"/>
          </a:solidFill>
          <a:ln w="19050" cap="flat" cmpd="sng" algn="ctr">
            <a:solidFill>
              <a:schemeClr val="bg1">
                <a:lumMod val="75000"/>
              </a:schemeClr>
            </a:solidFill>
            <a:prstDash val="solid"/>
            <a:round/>
            <a:headEnd type="none" w="med" len="med"/>
            <a:tailEnd type="none" w="med" len="med"/>
          </a:ln>
          <a:effectLst/>
        </p:spPr>
      </p:cxnSp>
      <p:cxnSp>
        <p:nvCxnSpPr>
          <p:cNvPr id="35" name="Straight Connector 34"/>
          <p:cNvCxnSpPr/>
          <p:nvPr/>
        </p:nvCxnSpPr>
        <p:spPr bwMode="auto">
          <a:xfrm>
            <a:off x="2950780" y="4694035"/>
            <a:ext cx="3434254" cy="0"/>
          </a:xfrm>
          <a:prstGeom prst="line">
            <a:avLst/>
          </a:prstGeom>
          <a:solidFill>
            <a:schemeClr val="accent1"/>
          </a:solidFill>
          <a:ln w="19050" cap="flat" cmpd="sng" algn="ctr">
            <a:solidFill>
              <a:schemeClr val="bg1">
                <a:lumMod val="75000"/>
              </a:schemeClr>
            </a:solidFill>
            <a:prstDash val="solid"/>
            <a:round/>
            <a:headEnd type="none" w="med" len="med"/>
            <a:tailEnd type="none" w="med" len="med"/>
          </a:ln>
          <a:effectLst/>
        </p:spPr>
      </p:cxnSp>
      <p:sp>
        <p:nvSpPr>
          <p:cNvPr id="2" name="TextBox 1"/>
          <p:cNvSpPr txBox="1"/>
          <p:nvPr/>
        </p:nvSpPr>
        <p:spPr>
          <a:xfrm>
            <a:off x="-609600" y="1257300"/>
            <a:ext cx="184731" cy="369332"/>
          </a:xfrm>
          <a:prstGeom prst="rect">
            <a:avLst/>
          </a:prstGeom>
          <a:noFill/>
        </p:spPr>
        <p:txBody>
          <a:bodyPr wrap="none" rtlCol="0">
            <a:spAutoFit/>
          </a:bodyPr>
          <a:lstStyle/>
          <a:p>
            <a:pPr algn="l"/>
            <a:endParaRPr lang="en-US" dirty="0"/>
          </a:p>
        </p:txBody>
      </p:sp>
    </p:spTree>
    <p:extLst>
      <p:ext uri="{BB962C8B-B14F-4D97-AF65-F5344CB8AC3E}">
        <p14:creationId xmlns:p14="http://schemas.microsoft.com/office/powerpoint/2010/main" val="16095227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8">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8">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8">
                                            <p:txEl>
                                              <p:pRg st="2" end="2"/>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8">
                                            <p:txEl>
                                              <p:pRg st="3" end="3"/>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9"/>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28">
                                            <p:txEl>
                                              <p:pRg st="4" end="4"/>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30"/>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28">
                                            <p:txEl>
                                              <p:pRg st="5" end="5"/>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31"/>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28">
                                            <p:txEl>
                                              <p:pRg st="6" end="6"/>
                                            </p:txEl>
                                          </p:spTgt>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32"/>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28">
                                            <p:txEl>
                                              <p:pRg st="7" end="7"/>
                                            </p:txEl>
                                          </p:spTgt>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33"/>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nodeType="clickEffect">
                                  <p:stCondLst>
                                    <p:cond delay="0"/>
                                  </p:stCondLst>
                                  <p:childTnLst>
                                    <p:set>
                                      <p:cBhvr>
                                        <p:cTn id="52" dur="1" fill="hold">
                                          <p:stCondLst>
                                            <p:cond delay="0"/>
                                          </p:stCondLst>
                                        </p:cTn>
                                        <p:tgtEl>
                                          <p:spTgt spid="28">
                                            <p:txEl>
                                              <p:pRg st="8" end="8"/>
                                            </p:txEl>
                                          </p:spTgt>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34"/>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3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Building incrementally accelerates value delivery</a:t>
            </a:r>
            <a:endParaRPr lang="en-US" dirty="0"/>
          </a:p>
        </p:txBody>
      </p:sp>
      <p:sp>
        <p:nvSpPr>
          <p:cNvPr id="72" name="Rounded Rectangle 71"/>
          <p:cNvSpPr/>
          <p:nvPr>
            <p:custDataLst>
              <p:tags r:id="rId1"/>
            </p:custDataLst>
          </p:nvPr>
        </p:nvSpPr>
        <p:spPr bwMode="auto">
          <a:xfrm>
            <a:off x="1431655" y="1046437"/>
            <a:ext cx="6180667" cy="1949771"/>
          </a:xfrm>
          <a:prstGeom prst="roundRect">
            <a:avLst>
              <a:gd name="adj" fmla="val 4849"/>
            </a:avLst>
          </a:prstGeom>
          <a:solidFill>
            <a:srgbClr val="FFFFFF">
              <a:lumMod val="95000"/>
            </a:srgbClr>
          </a:solidFill>
          <a:ln w="6350" cap="flat" cmpd="sng" algn="ctr">
            <a:noFill/>
            <a:prstDash val="solid"/>
            <a:round/>
            <a:headEnd type="none" w="med" len="med"/>
            <a:tailEnd type="none" w="med" len="med"/>
          </a:ln>
          <a:effectLst>
            <a:outerShdw blurRad="50800" dist="12700" dir="5400000" algn="t" rotWithShape="0">
              <a:prstClr val="black">
                <a:alpha val="40000"/>
              </a:prstClr>
            </a:outerShdw>
          </a:effectLst>
        </p:spPr>
        <p:txBody>
          <a:bodyPr vert="horz" wrap="square" lIns="34290" tIns="342900" rIns="34290" bIns="68580" numCol="1" rtlCol="0" anchor="t" anchorCtr="0" compatLnSpc="1">
            <a:prstTxWarp prst="textNoShape">
              <a:avLst/>
            </a:prstTxWarp>
            <a:noAutofit/>
          </a:bodyPr>
          <a:lstStyle/>
          <a:p>
            <a:pPr marL="0" lvl="1" defTabSz="685800">
              <a:defRPr/>
            </a:pPr>
            <a:endParaRPr lang="en-US" sz="1350" kern="0" dirty="0">
              <a:solidFill>
                <a:sysClr val="windowText" lastClr="000000"/>
              </a:solidFill>
              <a:latin typeface="Arial"/>
            </a:endParaRPr>
          </a:p>
        </p:txBody>
      </p:sp>
      <p:sp>
        <p:nvSpPr>
          <p:cNvPr id="73" name="Rounded Rectangle 72"/>
          <p:cNvSpPr/>
          <p:nvPr>
            <p:custDataLst>
              <p:tags r:id="rId2"/>
            </p:custDataLst>
          </p:nvPr>
        </p:nvSpPr>
        <p:spPr bwMode="auto">
          <a:xfrm>
            <a:off x="1431654" y="3193754"/>
            <a:ext cx="6180668" cy="1275508"/>
          </a:xfrm>
          <a:prstGeom prst="roundRect">
            <a:avLst>
              <a:gd name="adj" fmla="val 9712"/>
            </a:avLst>
          </a:prstGeom>
          <a:solidFill>
            <a:srgbClr val="FFFFFF">
              <a:lumMod val="95000"/>
            </a:srgbClr>
          </a:solidFill>
          <a:ln w="6350" cap="flat" cmpd="sng" algn="ctr">
            <a:noFill/>
            <a:prstDash val="solid"/>
            <a:round/>
            <a:headEnd type="none" w="med" len="med"/>
            <a:tailEnd type="none" w="med" len="med"/>
          </a:ln>
          <a:effectLst>
            <a:outerShdw blurRad="50800" dist="12700" dir="5400000" algn="t" rotWithShape="0">
              <a:prstClr val="black">
                <a:alpha val="40000"/>
              </a:prstClr>
            </a:outerShdw>
          </a:effectLst>
        </p:spPr>
        <p:txBody>
          <a:bodyPr vert="horz" wrap="square" lIns="34290" tIns="342900" rIns="34290" bIns="68580" numCol="1" rtlCol="0" anchor="t" anchorCtr="0" compatLnSpc="1">
            <a:prstTxWarp prst="textNoShape">
              <a:avLst/>
            </a:prstTxWarp>
            <a:noAutofit/>
          </a:bodyPr>
          <a:lstStyle/>
          <a:p>
            <a:pPr marL="0" lvl="1" defTabSz="685800">
              <a:defRPr/>
            </a:pPr>
            <a:endParaRPr lang="en-US" sz="1350" kern="0" dirty="0">
              <a:solidFill>
                <a:sysClr val="windowText" lastClr="000000"/>
              </a:solidFill>
              <a:latin typeface="Arial"/>
            </a:endParaRPr>
          </a:p>
        </p:txBody>
      </p:sp>
      <p:sp>
        <p:nvSpPr>
          <p:cNvPr id="78" name="Line 8"/>
          <p:cNvSpPr>
            <a:spLocks noChangeShapeType="1"/>
          </p:cNvSpPr>
          <p:nvPr>
            <p:custDataLst>
              <p:tags r:id="rId3"/>
            </p:custDataLst>
          </p:nvPr>
        </p:nvSpPr>
        <p:spPr bwMode="auto">
          <a:xfrm>
            <a:off x="1941821" y="1045721"/>
            <a:ext cx="0" cy="3423540"/>
          </a:xfrm>
          <a:prstGeom prst="line">
            <a:avLst/>
          </a:prstGeom>
          <a:noFill/>
          <a:ln w="12700">
            <a:solidFill>
              <a:srgbClr val="265899"/>
            </a:solidFill>
            <a:prstDash val="sysDot"/>
            <a:round/>
            <a:headEnd/>
            <a:tailEnd/>
          </a:ln>
          <a:effectLst/>
        </p:spPr>
        <p:txBody>
          <a:bodyPr wrap="none" anchor="ctr">
            <a:spAutoFit/>
          </a:bodyPr>
          <a:lstStyle/>
          <a:p>
            <a:pPr defTabSz="685800">
              <a:defRPr/>
            </a:pPr>
            <a:endParaRPr lang="en-US" sz="1350" kern="0" dirty="0">
              <a:solidFill>
                <a:sysClr val="windowText" lastClr="000000"/>
              </a:solidFill>
              <a:latin typeface="Arial Narrow" pitchFamily="34" charset="0"/>
            </a:endParaRPr>
          </a:p>
        </p:txBody>
      </p:sp>
      <p:sp>
        <p:nvSpPr>
          <p:cNvPr id="79" name="TextBox 78"/>
          <p:cNvSpPr txBox="1"/>
          <p:nvPr>
            <p:custDataLst>
              <p:tags r:id="rId4"/>
            </p:custDataLst>
          </p:nvPr>
        </p:nvSpPr>
        <p:spPr>
          <a:xfrm>
            <a:off x="2977904" y="2257222"/>
            <a:ext cx="468069" cy="461665"/>
          </a:xfrm>
          <a:prstGeom prst="rect">
            <a:avLst/>
          </a:prstGeom>
          <a:solidFill>
            <a:srgbClr val="FFFFFF">
              <a:lumMod val="95000"/>
            </a:srgbClr>
          </a:solidFill>
        </p:spPr>
        <p:txBody>
          <a:bodyPr wrap="square" rtlCol="0">
            <a:spAutoFit/>
          </a:bodyPr>
          <a:lstStyle/>
          <a:p>
            <a:pPr algn="ctr" defTabSz="685800">
              <a:defRPr/>
            </a:pPr>
            <a:r>
              <a:rPr lang="en-US" sz="2400" kern="0" dirty="0">
                <a:solidFill>
                  <a:sysClr val="windowText" lastClr="000000"/>
                </a:solidFill>
                <a:latin typeface="Wingdings" pitchFamily="2" charset="2"/>
              </a:rPr>
              <a:t>4</a:t>
            </a:r>
            <a:endParaRPr lang="en-US" sz="2100" kern="0" dirty="0">
              <a:solidFill>
                <a:sysClr val="windowText" lastClr="000000"/>
              </a:solidFill>
              <a:latin typeface="Arial Narrow" pitchFamily="34" charset="0"/>
            </a:endParaRPr>
          </a:p>
        </p:txBody>
      </p:sp>
      <p:sp>
        <p:nvSpPr>
          <p:cNvPr id="80" name="TextBox 79"/>
          <p:cNvSpPr txBox="1"/>
          <p:nvPr>
            <p:custDataLst>
              <p:tags r:id="rId5"/>
            </p:custDataLst>
          </p:nvPr>
        </p:nvSpPr>
        <p:spPr>
          <a:xfrm>
            <a:off x="3884824" y="2257222"/>
            <a:ext cx="1176701" cy="461665"/>
          </a:xfrm>
          <a:prstGeom prst="rect">
            <a:avLst/>
          </a:prstGeom>
          <a:solidFill>
            <a:srgbClr val="FFFFFF">
              <a:lumMod val="95000"/>
            </a:srgbClr>
          </a:solidFill>
        </p:spPr>
        <p:txBody>
          <a:bodyPr wrap="square" rtlCol="0">
            <a:spAutoFit/>
          </a:bodyPr>
          <a:lstStyle/>
          <a:p>
            <a:pPr algn="ctr" defTabSz="685800">
              <a:defRPr/>
            </a:pPr>
            <a:r>
              <a:rPr lang="en-US" sz="2400" kern="0" dirty="0">
                <a:solidFill>
                  <a:sysClr val="windowText" lastClr="000000"/>
                </a:solidFill>
                <a:latin typeface="Wingdings" pitchFamily="2" charset="2"/>
              </a:rPr>
              <a:t>444</a:t>
            </a:r>
            <a:endParaRPr lang="en-US" sz="2400" kern="0" dirty="0">
              <a:solidFill>
                <a:sysClr val="windowText" lastClr="000000"/>
              </a:solidFill>
              <a:latin typeface="Arial Narrow" pitchFamily="34" charset="0"/>
            </a:endParaRPr>
          </a:p>
        </p:txBody>
      </p:sp>
      <p:sp>
        <p:nvSpPr>
          <p:cNvPr id="82" name="TextBox 81"/>
          <p:cNvSpPr txBox="1"/>
          <p:nvPr>
            <p:custDataLst>
              <p:tags r:id="rId6"/>
            </p:custDataLst>
          </p:nvPr>
        </p:nvSpPr>
        <p:spPr>
          <a:xfrm>
            <a:off x="5503923" y="2277303"/>
            <a:ext cx="468068" cy="391609"/>
          </a:xfrm>
          <a:prstGeom prst="rect">
            <a:avLst/>
          </a:prstGeom>
          <a:solidFill>
            <a:srgbClr val="FFFFFF">
              <a:lumMod val="95000"/>
            </a:srgbClr>
          </a:solidFill>
        </p:spPr>
        <p:txBody>
          <a:bodyPr wrap="square" rtlCol="0" anchor="ctr">
            <a:noAutofit/>
          </a:bodyPr>
          <a:lstStyle/>
          <a:p>
            <a:pPr algn="ctr" defTabSz="685800">
              <a:defRPr/>
            </a:pPr>
            <a:r>
              <a:rPr lang="en-US" sz="2700" kern="0" dirty="0">
                <a:solidFill>
                  <a:sysClr val="windowText" lastClr="000000"/>
                </a:solidFill>
                <a:latin typeface="Wingdings" charset="2"/>
              </a:rPr>
              <a:t>:</a:t>
            </a:r>
          </a:p>
        </p:txBody>
      </p:sp>
      <p:grpSp>
        <p:nvGrpSpPr>
          <p:cNvPr id="83" name="Group 7"/>
          <p:cNvGrpSpPr/>
          <p:nvPr>
            <p:custDataLst>
              <p:tags r:id="rId7"/>
            </p:custDataLst>
          </p:nvPr>
        </p:nvGrpSpPr>
        <p:grpSpPr>
          <a:xfrm>
            <a:off x="1997660" y="3340033"/>
            <a:ext cx="486572" cy="422171"/>
            <a:chOff x="4399395" y="2671145"/>
            <a:chExt cx="1842470" cy="1598612"/>
          </a:xfrm>
          <a:solidFill>
            <a:schemeClr val="accent1"/>
          </a:solidFill>
        </p:grpSpPr>
        <p:sp>
          <p:nvSpPr>
            <p:cNvPr id="157" name="Right Arrow 156"/>
            <p:cNvSpPr>
              <a:spLocks noChangeArrowheads="1"/>
            </p:cNvSpPr>
            <p:nvPr/>
          </p:nvSpPr>
          <p:spPr bwMode="auto">
            <a:xfrm>
              <a:off x="5304078" y="3809575"/>
              <a:ext cx="937787" cy="402880"/>
            </a:xfrm>
            <a:prstGeom prst="rightArrow">
              <a:avLst>
                <a:gd name="adj1" fmla="val 50000"/>
                <a:gd name="adj2" fmla="val 5000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sp>
          <p:nvSpPr>
            <p:cNvPr id="161" name="Rectangle 160"/>
            <p:cNvSpPr>
              <a:spLocks noChangeArrowheads="1"/>
            </p:cNvSpPr>
            <p:nvPr/>
          </p:nvSpPr>
          <p:spPr bwMode="auto">
            <a:xfrm>
              <a:off x="4399395" y="3909419"/>
              <a:ext cx="914390" cy="201440"/>
            </a:xfrm>
            <a:prstGeom prst="rect">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sp>
          <p:nvSpPr>
            <p:cNvPr id="187" name="Circular Arrow 186"/>
            <p:cNvSpPr/>
            <p:nvPr/>
          </p:nvSpPr>
          <p:spPr bwMode="auto">
            <a:xfrm rot="7636339" flipV="1">
              <a:off x="4527366" y="2661619"/>
              <a:ext cx="1598612" cy="1617663"/>
            </a:xfrm>
            <a:prstGeom prst="circularArrow">
              <a:avLst>
                <a:gd name="adj1" fmla="val 12500"/>
                <a:gd name="adj2" fmla="val 1142319"/>
                <a:gd name="adj3" fmla="val 20457681"/>
                <a:gd name="adj4" fmla="val 2069411"/>
                <a:gd name="adj5" fmla="val 1621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grpSp>
      <p:grpSp>
        <p:nvGrpSpPr>
          <p:cNvPr id="84" name="Group 7"/>
          <p:cNvGrpSpPr/>
          <p:nvPr>
            <p:custDataLst>
              <p:tags r:id="rId8"/>
            </p:custDataLst>
          </p:nvPr>
        </p:nvGrpSpPr>
        <p:grpSpPr>
          <a:xfrm>
            <a:off x="2607735" y="3340033"/>
            <a:ext cx="486572" cy="422171"/>
            <a:chOff x="4399395" y="2671145"/>
            <a:chExt cx="1842470" cy="1598612"/>
          </a:xfrm>
          <a:solidFill>
            <a:schemeClr val="accent1"/>
          </a:solidFill>
        </p:grpSpPr>
        <p:sp>
          <p:nvSpPr>
            <p:cNvPr id="145" name="Right Arrow 37"/>
            <p:cNvSpPr>
              <a:spLocks noChangeArrowheads="1"/>
            </p:cNvSpPr>
            <p:nvPr/>
          </p:nvSpPr>
          <p:spPr bwMode="auto">
            <a:xfrm>
              <a:off x="5304078" y="3809575"/>
              <a:ext cx="937787" cy="402880"/>
            </a:xfrm>
            <a:prstGeom prst="rightArrow">
              <a:avLst>
                <a:gd name="adj1" fmla="val 50000"/>
                <a:gd name="adj2" fmla="val 5000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sp>
          <p:nvSpPr>
            <p:cNvPr id="149" name="Rectangle 38"/>
            <p:cNvSpPr>
              <a:spLocks noChangeArrowheads="1"/>
            </p:cNvSpPr>
            <p:nvPr/>
          </p:nvSpPr>
          <p:spPr bwMode="auto">
            <a:xfrm>
              <a:off x="4399395" y="3909419"/>
              <a:ext cx="914390" cy="201440"/>
            </a:xfrm>
            <a:prstGeom prst="rect">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sp>
          <p:nvSpPr>
            <p:cNvPr id="153" name="Circular Arrow 152"/>
            <p:cNvSpPr/>
            <p:nvPr/>
          </p:nvSpPr>
          <p:spPr bwMode="auto">
            <a:xfrm rot="7636339" flipV="1">
              <a:off x="4527366" y="2661619"/>
              <a:ext cx="1598612" cy="1617663"/>
            </a:xfrm>
            <a:prstGeom prst="circularArrow">
              <a:avLst>
                <a:gd name="adj1" fmla="val 12500"/>
                <a:gd name="adj2" fmla="val 1142319"/>
                <a:gd name="adj3" fmla="val 20457681"/>
                <a:gd name="adj4" fmla="val 2069411"/>
                <a:gd name="adj5" fmla="val 1621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grpSp>
      <p:grpSp>
        <p:nvGrpSpPr>
          <p:cNvPr id="86" name="Group 7"/>
          <p:cNvGrpSpPr/>
          <p:nvPr>
            <p:custDataLst>
              <p:tags r:id="rId9"/>
            </p:custDataLst>
          </p:nvPr>
        </p:nvGrpSpPr>
        <p:grpSpPr>
          <a:xfrm>
            <a:off x="3282885" y="3340033"/>
            <a:ext cx="486572" cy="422171"/>
            <a:chOff x="4399395" y="2671145"/>
            <a:chExt cx="1842470" cy="1598612"/>
          </a:xfrm>
          <a:solidFill>
            <a:schemeClr val="accent1"/>
          </a:solidFill>
        </p:grpSpPr>
        <p:sp>
          <p:nvSpPr>
            <p:cNvPr id="134" name="Right Arrow 37"/>
            <p:cNvSpPr>
              <a:spLocks noChangeArrowheads="1"/>
            </p:cNvSpPr>
            <p:nvPr/>
          </p:nvSpPr>
          <p:spPr bwMode="auto">
            <a:xfrm>
              <a:off x="5304078" y="3809575"/>
              <a:ext cx="937787" cy="402880"/>
            </a:xfrm>
            <a:prstGeom prst="rightArrow">
              <a:avLst>
                <a:gd name="adj1" fmla="val 50000"/>
                <a:gd name="adj2" fmla="val 5000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sp>
          <p:nvSpPr>
            <p:cNvPr id="137" name="Rectangle 38"/>
            <p:cNvSpPr>
              <a:spLocks noChangeArrowheads="1"/>
            </p:cNvSpPr>
            <p:nvPr/>
          </p:nvSpPr>
          <p:spPr bwMode="auto">
            <a:xfrm>
              <a:off x="4399395" y="3909419"/>
              <a:ext cx="914390" cy="201440"/>
            </a:xfrm>
            <a:prstGeom prst="rect">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sp>
          <p:nvSpPr>
            <p:cNvPr id="141" name="Circular Arrow 140"/>
            <p:cNvSpPr/>
            <p:nvPr/>
          </p:nvSpPr>
          <p:spPr bwMode="auto">
            <a:xfrm rot="7636339" flipV="1">
              <a:off x="4527366" y="2661619"/>
              <a:ext cx="1598612" cy="1617663"/>
            </a:xfrm>
            <a:prstGeom prst="circularArrow">
              <a:avLst>
                <a:gd name="adj1" fmla="val 12500"/>
                <a:gd name="adj2" fmla="val 1142319"/>
                <a:gd name="adj3" fmla="val 20457681"/>
                <a:gd name="adj4" fmla="val 2069411"/>
                <a:gd name="adj5" fmla="val 1621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grpSp>
      <p:grpSp>
        <p:nvGrpSpPr>
          <p:cNvPr id="87" name="Group 66"/>
          <p:cNvGrpSpPr/>
          <p:nvPr>
            <p:custDataLst>
              <p:tags r:id="rId10"/>
            </p:custDataLst>
          </p:nvPr>
        </p:nvGrpSpPr>
        <p:grpSpPr>
          <a:xfrm>
            <a:off x="3884825" y="3340033"/>
            <a:ext cx="486572" cy="422171"/>
            <a:chOff x="4399395" y="2671145"/>
            <a:chExt cx="1842470" cy="1598612"/>
          </a:xfrm>
          <a:solidFill>
            <a:schemeClr val="accent1"/>
          </a:solidFill>
        </p:grpSpPr>
        <p:sp>
          <p:nvSpPr>
            <p:cNvPr id="131" name="Right Arrow 37"/>
            <p:cNvSpPr>
              <a:spLocks noChangeArrowheads="1"/>
            </p:cNvSpPr>
            <p:nvPr/>
          </p:nvSpPr>
          <p:spPr bwMode="auto">
            <a:xfrm>
              <a:off x="5304078" y="3809575"/>
              <a:ext cx="937787" cy="402880"/>
            </a:xfrm>
            <a:prstGeom prst="rightArrow">
              <a:avLst>
                <a:gd name="adj1" fmla="val 50000"/>
                <a:gd name="adj2" fmla="val 5000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sp>
          <p:nvSpPr>
            <p:cNvPr id="132" name="Rectangle 38"/>
            <p:cNvSpPr>
              <a:spLocks noChangeArrowheads="1"/>
            </p:cNvSpPr>
            <p:nvPr/>
          </p:nvSpPr>
          <p:spPr bwMode="auto">
            <a:xfrm>
              <a:off x="4399395" y="3909419"/>
              <a:ext cx="914390" cy="201440"/>
            </a:xfrm>
            <a:prstGeom prst="rect">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sp>
          <p:nvSpPr>
            <p:cNvPr id="133" name="Circular Arrow 132"/>
            <p:cNvSpPr/>
            <p:nvPr/>
          </p:nvSpPr>
          <p:spPr bwMode="auto">
            <a:xfrm rot="7636339" flipV="1">
              <a:off x="4527366" y="2661619"/>
              <a:ext cx="1598612" cy="1617663"/>
            </a:xfrm>
            <a:prstGeom prst="circularArrow">
              <a:avLst>
                <a:gd name="adj1" fmla="val 12500"/>
                <a:gd name="adj2" fmla="val 1142319"/>
                <a:gd name="adj3" fmla="val 20457681"/>
                <a:gd name="adj4" fmla="val 2069411"/>
                <a:gd name="adj5" fmla="val 1621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grpSp>
      <p:grpSp>
        <p:nvGrpSpPr>
          <p:cNvPr id="88" name="Group 7"/>
          <p:cNvGrpSpPr/>
          <p:nvPr>
            <p:custDataLst>
              <p:tags r:id="rId11"/>
            </p:custDataLst>
          </p:nvPr>
        </p:nvGrpSpPr>
        <p:grpSpPr>
          <a:xfrm>
            <a:off x="4517815" y="3340033"/>
            <a:ext cx="486572" cy="422171"/>
            <a:chOff x="4399395" y="2671145"/>
            <a:chExt cx="1842470" cy="1598612"/>
          </a:xfrm>
          <a:solidFill>
            <a:schemeClr val="accent1"/>
          </a:solidFill>
        </p:grpSpPr>
        <p:sp>
          <p:nvSpPr>
            <p:cNvPr id="128" name="Right Arrow 37"/>
            <p:cNvSpPr>
              <a:spLocks noChangeArrowheads="1"/>
            </p:cNvSpPr>
            <p:nvPr/>
          </p:nvSpPr>
          <p:spPr bwMode="auto">
            <a:xfrm>
              <a:off x="5304078" y="3809575"/>
              <a:ext cx="937787" cy="402880"/>
            </a:xfrm>
            <a:prstGeom prst="rightArrow">
              <a:avLst>
                <a:gd name="adj1" fmla="val 50000"/>
                <a:gd name="adj2" fmla="val 5000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sp>
          <p:nvSpPr>
            <p:cNvPr id="129" name="Rectangle 38"/>
            <p:cNvSpPr>
              <a:spLocks noChangeArrowheads="1"/>
            </p:cNvSpPr>
            <p:nvPr/>
          </p:nvSpPr>
          <p:spPr bwMode="auto">
            <a:xfrm>
              <a:off x="4399395" y="3909419"/>
              <a:ext cx="914390" cy="201440"/>
            </a:xfrm>
            <a:prstGeom prst="rect">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sp>
          <p:nvSpPr>
            <p:cNvPr id="130" name="Circular Arrow 129"/>
            <p:cNvSpPr/>
            <p:nvPr/>
          </p:nvSpPr>
          <p:spPr bwMode="auto">
            <a:xfrm rot="7636339" flipV="1">
              <a:off x="4527366" y="2661619"/>
              <a:ext cx="1598612" cy="1617663"/>
            </a:xfrm>
            <a:prstGeom prst="circularArrow">
              <a:avLst>
                <a:gd name="adj1" fmla="val 12500"/>
                <a:gd name="adj2" fmla="val 1142319"/>
                <a:gd name="adj3" fmla="val 20457681"/>
                <a:gd name="adj4" fmla="val 2069411"/>
                <a:gd name="adj5" fmla="val 1621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grpSp>
      <p:grpSp>
        <p:nvGrpSpPr>
          <p:cNvPr id="90" name="Group 89"/>
          <p:cNvGrpSpPr/>
          <p:nvPr>
            <p:custDataLst>
              <p:tags r:id="rId12"/>
            </p:custDataLst>
          </p:nvPr>
        </p:nvGrpSpPr>
        <p:grpSpPr>
          <a:xfrm>
            <a:off x="5119756" y="3340033"/>
            <a:ext cx="486572" cy="422171"/>
            <a:chOff x="4399395" y="2671145"/>
            <a:chExt cx="1842470" cy="1598612"/>
          </a:xfrm>
          <a:solidFill>
            <a:schemeClr val="accent1"/>
          </a:solidFill>
        </p:grpSpPr>
        <p:sp>
          <p:nvSpPr>
            <p:cNvPr id="125" name="Right Arrow 37"/>
            <p:cNvSpPr>
              <a:spLocks noChangeArrowheads="1"/>
            </p:cNvSpPr>
            <p:nvPr/>
          </p:nvSpPr>
          <p:spPr bwMode="auto">
            <a:xfrm>
              <a:off x="5304078" y="3809575"/>
              <a:ext cx="937787" cy="402880"/>
            </a:xfrm>
            <a:prstGeom prst="rightArrow">
              <a:avLst>
                <a:gd name="adj1" fmla="val 50000"/>
                <a:gd name="adj2" fmla="val 5000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sp>
          <p:nvSpPr>
            <p:cNvPr id="126" name="Rectangle 38"/>
            <p:cNvSpPr>
              <a:spLocks noChangeArrowheads="1"/>
            </p:cNvSpPr>
            <p:nvPr/>
          </p:nvSpPr>
          <p:spPr bwMode="auto">
            <a:xfrm>
              <a:off x="4399395" y="3909419"/>
              <a:ext cx="914390" cy="201440"/>
            </a:xfrm>
            <a:prstGeom prst="rect">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sp>
          <p:nvSpPr>
            <p:cNvPr id="127" name="Circular Arrow 126"/>
            <p:cNvSpPr/>
            <p:nvPr/>
          </p:nvSpPr>
          <p:spPr bwMode="auto">
            <a:xfrm rot="7636339" flipV="1">
              <a:off x="4527366" y="2661619"/>
              <a:ext cx="1598612" cy="1617663"/>
            </a:xfrm>
            <a:prstGeom prst="circularArrow">
              <a:avLst>
                <a:gd name="adj1" fmla="val 12500"/>
                <a:gd name="adj2" fmla="val 1142319"/>
                <a:gd name="adj3" fmla="val 20457681"/>
                <a:gd name="adj4" fmla="val 2069411"/>
                <a:gd name="adj5" fmla="val 1621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grpSp>
      <p:grpSp>
        <p:nvGrpSpPr>
          <p:cNvPr id="91" name="Group 88"/>
          <p:cNvGrpSpPr/>
          <p:nvPr>
            <p:custDataLst>
              <p:tags r:id="rId13"/>
            </p:custDataLst>
          </p:nvPr>
        </p:nvGrpSpPr>
        <p:grpSpPr>
          <a:xfrm>
            <a:off x="5827444" y="3340033"/>
            <a:ext cx="486572" cy="422171"/>
            <a:chOff x="4399395" y="2671145"/>
            <a:chExt cx="1842470" cy="1598612"/>
          </a:xfrm>
          <a:solidFill>
            <a:schemeClr val="accent1"/>
          </a:solidFill>
        </p:grpSpPr>
        <p:sp>
          <p:nvSpPr>
            <p:cNvPr id="122" name="Right Arrow 37"/>
            <p:cNvSpPr>
              <a:spLocks noChangeArrowheads="1"/>
            </p:cNvSpPr>
            <p:nvPr/>
          </p:nvSpPr>
          <p:spPr bwMode="auto">
            <a:xfrm>
              <a:off x="5304078" y="3809575"/>
              <a:ext cx="937787" cy="402880"/>
            </a:xfrm>
            <a:prstGeom prst="rightArrow">
              <a:avLst>
                <a:gd name="adj1" fmla="val 50000"/>
                <a:gd name="adj2" fmla="val 5000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sp>
          <p:nvSpPr>
            <p:cNvPr id="123" name="Rectangle 38"/>
            <p:cNvSpPr>
              <a:spLocks noChangeArrowheads="1"/>
            </p:cNvSpPr>
            <p:nvPr/>
          </p:nvSpPr>
          <p:spPr bwMode="auto">
            <a:xfrm>
              <a:off x="4399395" y="3909419"/>
              <a:ext cx="914390" cy="201440"/>
            </a:xfrm>
            <a:prstGeom prst="rect">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sp>
          <p:nvSpPr>
            <p:cNvPr id="124" name="Circular Arrow 123"/>
            <p:cNvSpPr/>
            <p:nvPr/>
          </p:nvSpPr>
          <p:spPr bwMode="auto">
            <a:xfrm rot="7636339" flipV="1">
              <a:off x="4527366" y="2661619"/>
              <a:ext cx="1598612" cy="1617663"/>
            </a:xfrm>
            <a:prstGeom prst="circularArrow">
              <a:avLst>
                <a:gd name="adj1" fmla="val 12500"/>
                <a:gd name="adj2" fmla="val 1142319"/>
                <a:gd name="adj3" fmla="val 20457681"/>
                <a:gd name="adj4" fmla="val 2069411"/>
                <a:gd name="adj5" fmla="val 1621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grpSp>
      <p:grpSp>
        <p:nvGrpSpPr>
          <p:cNvPr id="92" name="Group 7"/>
          <p:cNvGrpSpPr/>
          <p:nvPr>
            <p:custDataLst>
              <p:tags r:id="rId14"/>
            </p:custDataLst>
          </p:nvPr>
        </p:nvGrpSpPr>
        <p:grpSpPr>
          <a:xfrm>
            <a:off x="6429385" y="3340033"/>
            <a:ext cx="486572" cy="422171"/>
            <a:chOff x="4399395" y="2671145"/>
            <a:chExt cx="1842470" cy="1598612"/>
          </a:xfrm>
          <a:solidFill>
            <a:schemeClr val="accent1"/>
          </a:solidFill>
        </p:grpSpPr>
        <p:sp>
          <p:nvSpPr>
            <p:cNvPr id="119" name="Right Arrow 37"/>
            <p:cNvSpPr>
              <a:spLocks noChangeArrowheads="1"/>
            </p:cNvSpPr>
            <p:nvPr/>
          </p:nvSpPr>
          <p:spPr bwMode="auto">
            <a:xfrm>
              <a:off x="5304078" y="3809575"/>
              <a:ext cx="937787" cy="402880"/>
            </a:xfrm>
            <a:prstGeom prst="rightArrow">
              <a:avLst>
                <a:gd name="adj1" fmla="val 50000"/>
                <a:gd name="adj2" fmla="val 5000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sp>
          <p:nvSpPr>
            <p:cNvPr id="120" name="Rectangle 38"/>
            <p:cNvSpPr>
              <a:spLocks noChangeArrowheads="1"/>
            </p:cNvSpPr>
            <p:nvPr/>
          </p:nvSpPr>
          <p:spPr bwMode="auto">
            <a:xfrm>
              <a:off x="4399395" y="3909419"/>
              <a:ext cx="914390" cy="201440"/>
            </a:xfrm>
            <a:prstGeom prst="rect">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sp>
          <p:nvSpPr>
            <p:cNvPr id="121" name="Circular Arrow 120"/>
            <p:cNvSpPr/>
            <p:nvPr/>
          </p:nvSpPr>
          <p:spPr bwMode="auto">
            <a:xfrm rot="7636339" flipV="1">
              <a:off x="4527366" y="2661619"/>
              <a:ext cx="1598612" cy="1617663"/>
            </a:xfrm>
            <a:prstGeom prst="circularArrow">
              <a:avLst>
                <a:gd name="adj1" fmla="val 12500"/>
                <a:gd name="adj2" fmla="val 1142319"/>
                <a:gd name="adj3" fmla="val 20457681"/>
                <a:gd name="adj4" fmla="val 2069411"/>
                <a:gd name="adj5" fmla="val 16214"/>
              </a:avLst>
            </a:prstGeom>
            <a:grpFill/>
            <a:ln w="9525" cap="flat" cmpd="sng" algn="ctr">
              <a:solidFill>
                <a:srgbClr val="FFFFFF"/>
              </a:solidFill>
              <a:prstDash val="solid"/>
              <a:round/>
              <a:headEnd type="none" w="med" len="med"/>
              <a:tailEnd type="none" w="med" len="med"/>
            </a:ln>
            <a:effectLst/>
          </p:spPr>
          <p:txBody>
            <a:bodyPr/>
            <a:lstStyle/>
            <a:p>
              <a:pPr defTabSz="685800" eaLnBrk="0" hangingPunct="0">
                <a:defRPr/>
              </a:pPr>
              <a:endParaRPr lang="en-US" sz="1350" kern="0" dirty="0">
                <a:solidFill>
                  <a:sysClr val="windowText" lastClr="000000"/>
                </a:solidFill>
                <a:latin typeface="Arial"/>
                <a:cs typeface="Arial"/>
              </a:endParaRPr>
            </a:p>
          </p:txBody>
        </p:sp>
      </p:grpSp>
      <p:sp>
        <p:nvSpPr>
          <p:cNvPr id="104" name="Rounded Rectangle 103"/>
          <p:cNvSpPr/>
          <p:nvPr>
            <p:custDataLst>
              <p:tags r:id="rId15"/>
            </p:custDataLst>
          </p:nvPr>
        </p:nvSpPr>
        <p:spPr bwMode="auto">
          <a:xfrm>
            <a:off x="2008345" y="1178581"/>
            <a:ext cx="1081364" cy="344056"/>
          </a:xfrm>
          <a:prstGeom prst="roundRect">
            <a:avLst/>
          </a:prstGeom>
          <a:solidFill>
            <a:schemeClr val="accent1"/>
          </a:solidFill>
          <a:ln w="6350" cap="flat" cmpd="sng" algn="ctr">
            <a:noFill/>
            <a:prstDash val="solid"/>
            <a:round/>
            <a:headEnd type="none" w="med" len="med"/>
            <a:tailEnd type="none" w="med" len="med"/>
          </a:ln>
          <a:effectLst/>
        </p:spPr>
        <p:txBody>
          <a:bodyPr vert="horz" wrap="square" lIns="68580" tIns="68580" rIns="68580" bIns="68580" numCol="1" rtlCol="0" anchor="ctr" anchorCtr="0" compatLnSpc="1">
            <a:prstTxWarp prst="textNoShape">
              <a:avLst/>
            </a:prstTxWarp>
            <a:noAutofit/>
          </a:bodyPr>
          <a:lstStyle/>
          <a:p>
            <a:pPr algn="ctr" defTabSz="685800">
              <a:spcBef>
                <a:spcPct val="20000"/>
              </a:spcBef>
              <a:buClr>
                <a:srgbClr val="FFFFFF"/>
              </a:buClr>
              <a:buSzPct val="100000"/>
              <a:defRPr/>
            </a:pPr>
            <a:r>
              <a:rPr lang="en-US" sz="975" b="1" kern="0" dirty="0">
                <a:ln>
                  <a:solidFill>
                    <a:srgbClr val="FFFFFF">
                      <a:alpha val="0"/>
                    </a:srgbClr>
                  </a:solidFill>
                </a:ln>
                <a:solidFill>
                  <a:srgbClr val="FFFFFF"/>
                </a:solidFill>
                <a:latin typeface="Arial"/>
              </a:rPr>
              <a:t>Requirements</a:t>
            </a:r>
          </a:p>
        </p:txBody>
      </p:sp>
      <p:sp>
        <p:nvSpPr>
          <p:cNvPr id="105" name="Rounded Rectangle 104"/>
          <p:cNvSpPr/>
          <p:nvPr>
            <p:custDataLst>
              <p:tags r:id="rId16"/>
            </p:custDataLst>
          </p:nvPr>
        </p:nvSpPr>
        <p:spPr bwMode="auto">
          <a:xfrm>
            <a:off x="3270842" y="1393066"/>
            <a:ext cx="1081364" cy="344056"/>
          </a:xfrm>
          <a:prstGeom prst="roundRect">
            <a:avLst/>
          </a:prstGeom>
          <a:solidFill>
            <a:schemeClr val="accent1"/>
          </a:solidFill>
          <a:ln w="6350" cap="flat" cmpd="sng" algn="ctr">
            <a:noFill/>
            <a:prstDash val="solid"/>
            <a:round/>
            <a:headEnd type="none" w="med" len="med"/>
            <a:tailEnd type="none" w="med" len="med"/>
          </a:ln>
          <a:effectLst/>
        </p:spPr>
        <p:txBody>
          <a:bodyPr vert="horz" wrap="square" lIns="68580" tIns="68580" rIns="68580" bIns="68580" numCol="1" rtlCol="0" anchor="ctr" anchorCtr="0" compatLnSpc="1">
            <a:prstTxWarp prst="textNoShape">
              <a:avLst/>
            </a:prstTxWarp>
            <a:noAutofit/>
          </a:bodyPr>
          <a:lstStyle/>
          <a:p>
            <a:pPr algn="ctr" defTabSz="685800">
              <a:spcBef>
                <a:spcPct val="20000"/>
              </a:spcBef>
              <a:buClr>
                <a:srgbClr val="FFFFFF"/>
              </a:buClr>
              <a:buSzPct val="100000"/>
              <a:defRPr/>
            </a:pPr>
            <a:r>
              <a:rPr lang="en-US" sz="975" b="1" kern="0" dirty="0">
                <a:ln>
                  <a:solidFill>
                    <a:srgbClr val="FFFFFF">
                      <a:alpha val="0"/>
                    </a:srgbClr>
                  </a:solidFill>
                </a:ln>
                <a:solidFill>
                  <a:srgbClr val="FFFFFF"/>
                </a:solidFill>
                <a:latin typeface="Arial"/>
              </a:rPr>
              <a:t>Design</a:t>
            </a:r>
          </a:p>
        </p:txBody>
      </p:sp>
      <p:sp>
        <p:nvSpPr>
          <p:cNvPr id="106" name="Rounded Rectangle 105"/>
          <p:cNvSpPr/>
          <p:nvPr>
            <p:custDataLst>
              <p:tags r:id="rId17"/>
            </p:custDataLst>
          </p:nvPr>
        </p:nvSpPr>
        <p:spPr bwMode="auto">
          <a:xfrm>
            <a:off x="4509995" y="1607552"/>
            <a:ext cx="1188132" cy="344056"/>
          </a:xfrm>
          <a:prstGeom prst="roundRect">
            <a:avLst/>
          </a:prstGeom>
          <a:solidFill>
            <a:schemeClr val="accent1"/>
          </a:solidFill>
          <a:ln w="6350" cap="flat" cmpd="sng" algn="ctr">
            <a:noFill/>
            <a:prstDash val="solid"/>
            <a:round/>
            <a:headEnd type="none" w="med" len="med"/>
            <a:tailEnd type="none" w="med" len="med"/>
          </a:ln>
          <a:effectLst/>
        </p:spPr>
        <p:txBody>
          <a:bodyPr vert="horz" wrap="square" lIns="68580" tIns="68580" rIns="68580" bIns="68580" numCol="1" rtlCol="0" anchor="ctr" anchorCtr="0" compatLnSpc="1">
            <a:prstTxWarp prst="textNoShape">
              <a:avLst/>
            </a:prstTxWarp>
            <a:noAutofit/>
          </a:bodyPr>
          <a:lstStyle/>
          <a:p>
            <a:pPr algn="ctr" defTabSz="685800">
              <a:spcBef>
                <a:spcPct val="20000"/>
              </a:spcBef>
              <a:buClr>
                <a:srgbClr val="FFFFFF"/>
              </a:buClr>
              <a:buSzPct val="100000"/>
              <a:defRPr/>
            </a:pPr>
            <a:r>
              <a:rPr lang="en-US" sz="975" b="1" kern="0" dirty="0">
                <a:ln>
                  <a:solidFill>
                    <a:srgbClr val="FFFFFF">
                      <a:alpha val="0"/>
                    </a:srgbClr>
                  </a:solidFill>
                </a:ln>
                <a:solidFill>
                  <a:srgbClr val="FFFFFF"/>
                </a:solidFill>
                <a:latin typeface="Arial"/>
              </a:rPr>
              <a:t>Implementation</a:t>
            </a:r>
          </a:p>
        </p:txBody>
      </p:sp>
      <p:sp>
        <p:nvSpPr>
          <p:cNvPr id="107" name="Rounded Rectangle 106"/>
          <p:cNvSpPr/>
          <p:nvPr>
            <p:custDataLst>
              <p:tags r:id="rId18"/>
            </p:custDataLst>
          </p:nvPr>
        </p:nvSpPr>
        <p:spPr bwMode="auto">
          <a:xfrm>
            <a:off x="5795836" y="1822038"/>
            <a:ext cx="1081364" cy="344056"/>
          </a:xfrm>
          <a:prstGeom prst="roundRect">
            <a:avLst/>
          </a:prstGeom>
          <a:solidFill>
            <a:schemeClr val="accent1"/>
          </a:solidFill>
          <a:ln w="6350" cap="flat" cmpd="sng" algn="ctr">
            <a:noFill/>
            <a:prstDash val="solid"/>
            <a:round/>
            <a:headEnd type="none" w="med" len="med"/>
            <a:tailEnd type="none" w="med" len="med"/>
          </a:ln>
          <a:effectLst/>
        </p:spPr>
        <p:txBody>
          <a:bodyPr vert="horz" wrap="square" lIns="68580" tIns="68580" rIns="68580" bIns="68580" numCol="1" rtlCol="0" anchor="ctr" anchorCtr="0" compatLnSpc="1">
            <a:prstTxWarp prst="textNoShape">
              <a:avLst/>
            </a:prstTxWarp>
            <a:noAutofit/>
          </a:bodyPr>
          <a:lstStyle/>
          <a:p>
            <a:pPr algn="ctr" defTabSz="685800">
              <a:spcBef>
                <a:spcPct val="20000"/>
              </a:spcBef>
              <a:buClr>
                <a:srgbClr val="FFFFFF"/>
              </a:buClr>
              <a:buSzPct val="100000"/>
              <a:defRPr/>
            </a:pPr>
            <a:r>
              <a:rPr lang="en-US" sz="975" b="1" kern="0" dirty="0">
                <a:ln>
                  <a:solidFill>
                    <a:srgbClr val="FFFFFF">
                      <a:alpha val="0"/>
                    </a:srgbClr>
                  </a:solidFill>
                </a:ln>
                <a:solidFill>
                  <a:srgbClr val="FFFFFF"/>
                </a:solidFill>
                <a:latin typeface="Arial"/>
              </a:rPr>
              <a:t>Verification</a:t>
            </a:r>
          </a:p>
        </p:txBody>
      </p:sp>
      <p:sp>
        <p:nvSpPr>
          <p:cNvPr id="108" name="Bent Arrow 107"/>
          <p:cNvSpPr/>
          <p:nvPr>
            <p:custDataLst>
              <p:tags r:id="rId19"/>
            </p:custDataLst>
          </p:nvPr>
        </p:nvSpPr>
        <p:spPr bwMode="auto">
          <a:xfrm rot="5400000">
            <a:off x="3405069" y="913312"/>
            <a:ext cx="164395" cy="795116"/>
          </a:xfrm>
          <a:prstGeom prst="bentArrow">
            <a:avLst>
              <a:gd name="adj1" fmla="val 27023"/>
              <a:gd name="adj2" fmla="val 30181"/>
              <a:gd name="adj3" fmla="val 24097"/>
              <a:gd name="adj4" fmla="val 18303"/>
            </a:avLst>
          </a:prstGeom>
          <a:solidFill>
            <a:schemeClr val="accent1"/>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defTabSz="685800" eaLnBrk="0" hangingPunct="0">
              <a:spcBef>
                <a:spcPct val="20000"/>
              </a:spcBef>
              <a:defRPr/>
            </a:pPr>
            <a:endParaRPr lang="en-US" sz="1650" i="1" kern="0" dirty="0">
              <a:solidFill>
                <a:sysClr val="windowText" lastClr="000000"/>
              </a:solidFill>
              <a:latin typeface="Arial"/>
            </a:endParaRPr>
          </a:p>
        </p:txBody>
      </p:sp>
      <p:sp>
        <p:nvSpPr>
          <p:cNvPr id="110" name="Bent Arrow 109"/>
          <p:cNvSpPr/>
          <p:nvPr>
            <p:custDataLst>
              <p:tags r:id="rId20"/>
            </p:custDataLst>
          </p:nvPr>
        </p:nvSpPr>
        <p:spPr bwMode="auto">
          <a:xfrm rot="5400000">
            <a:off x="4667565" y="1127797"/>
            <a:ext cx="164395" cy="795116"/>
          </a:xfrm>
          <a:prstGeom prst="bentArrow">
            <a:avLst>
              <a:gd name="adj1" fmla="val 27023"/>
              <a:gd name="adj2" fmla="val 30181"/>
              <a:gd name="adj3" fmla="val 24097"/>
              <a:gd name="adj4" fmla="val 18303"/>
            </a:avLst>
          </a:prstGeom>
          <a:solidFill>
            <a:schemeClr val="accent1"/>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defTabSz="685800" eaLnBrk="0" hangingPunct="0">
              <a:spcBef>
                <a:spcPct val="20000"/>
              </a:spcBef>
              <a:defRPr/>
            </a:pPr>
            <a:endParaRPr lang="en-US" sz="1650" i="1" kern="0" dirty="0">
              <a:solidFill>
                <a:sysClr val="windowText" lastClr="000000"/>
              </a:solidFill>
              <a:latin typeface="Arial"/>
            </a:endParaRPr>
          </a:p>
        </p:txBody>
      </p:sp>
      <p:sp>
        <p:nvSpPr>
          <p:cNvPr id="111" name="Bent Arrow 110"/>
          <p:cNvSpPr/>
          <p:nvPr>
            <p:custDataLst>
              <p:tags r:id="rId21"/>
            </p:custDataLst>
          </p:nvPr>
        </p:nvSpPr>
        <p:spPr bwMode="auto">
          <a:xfrm rot="5400000">
            <a:off x="6013488" y="1345591"/>
            <a:ext cx="164395" cy="795116"/>
          </a:xfrm>
          <a:prstGeom prst="bentArrow">
            <a:avLst>
              <a:gd name="adj1" fmla="val 27023"/>
              <a:gd name="adj2" fmla="val 30181"/>
              <a:gd name="adj3" fmla="val 24097"/>
              <a:gd name="adj4" fmla="val 18303"/>
            </a:avLst>
          </a:prstGeom>
          <a:solidFill>
            <a:schemeClr val="accent1"/>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defTabSz="685800" eaLnBrk="0" hangingPunct="0">
              <a:spcBef>
                <a:spcPct val="20000"/>
              </a:spcBef>
              <a:defRPr/>
            </a:pPr>
            <a:endParaRPr lang="en-US" sz="1650" i="1" kern="0" dirty="0">
              <a:solidFill>
                <a:sysClr val="windowText" lastClr="000000"/>
              </a:solidFill>
              <a:latin typeface="Arial"/>
            </a:endParaRPr>
          </a:p>
        </p:txBody>
      </p:sp>
      <p:sp>
        <p:nvSpPr>
          <p:cNvPr id="112" name="Round Same Side Corner Rectangle 111"/>
          <p:cNvSpPr/>
          <p:nvPr>
            <p:custDataLst>
              <p:tags r:id="rId22"/>
            </p:custDataLst>
          </p:nvPr>
        </p:nvSpPr>
        <p:spPr bwMode="auto">
          <a:xfrm rot="16200000">
            <a:off x="708344" y="1769747"/>
            <a:ext cx="1949771" cy="503150"/>
          </a:xfrm>
          <a:prstGeom prst="round2SameRect">
            <a:avLst>
              <a:gd name="adj1" fmla="val 20755"/>
              <a:gd name="adj2" fmla="val 0"/>
            </a:avLst>
          </a:prstGeom>
          <a:solidFill>
            <a:schemeClr val="accent5"/>
          </a:solidFill>
          <a:ln w="6350" cap="flat" cmpd="sng" algn="ctr">
            <a:noFill/>
            <a:prstDash val="solid"/>
            <a:round/>
            <a:headEnd type="none" w="med" len="med"/>
            <a:tailEnd type="none" w="med" len="med"/>
          </a:ln>
          <a:effectLst/>
        </p:spPr>
        <p:txBody>
          <a:bodyPr vert="horz" wrap="square" lIns="68580" tIns="34290" rIns="68580" bIns="68580" numCol="1" rtlCol="0" anchor="ctr" anchorCtr="0" compatLnSpc="1">
            <a:prstTxWarp prst="textNoShape">
              <a:avLst/>
            </a:prstTxWarp>
            <a:noAutofit/>
          </a:bodyPr>
          <a:lstStyle/>
          <a:p>
            <a:pPr algn="ctr" defTabSz="685800">
              <a:spcBef>
                <a:spcPct val="20000"/>
              </a:spcBef>
              <a:buClr>
                <a:srgbClr val="FFFFFF"/>
              </a:buClr>
              <a:buSzPct val="100000"/>
              <a:defRPr/>
            </a:pPr>
            <a:r>
              <a:rPr lang="en-US" sz="1200" b="1" kern="0" dirty="0">
                <a:ln>
                  <a:solidFill>
                    <a:srgbClr val="FFFFFF">
                      <a:alpha val="0"/>
                    </a:srgbClr>
                  </a:solidFill>
                </a:ln>
                <a:solidFill>
                  <a:srgbClr val="FFFFFF"/>
                </a:solidFill>
                <a:latin typeface="Arial"/>
              </a:rPr>
              <a:t>WATERFALL</a:t>
            </a:r>
            <a:endParaRPr lang="en-US" sz="1350" b="1" kern="0" dirty="0">
              <a:ln>
                <a:solidFill>
                  <a:srgbClr val="FFFFFF">
                    <a:alpha val="0"/>
                  </a:srgbClr>
                </a:solidFill>
              </a:ln>
              <a:solidFill>
                <a:srgbClr val="FFFFFF"/>
              </a:solidFill>
              <a:latin typeface="Arial"/>
            </a:endParaRPr>
          </a:p>
        </p:txBody>
      </p:sp>
      <p:sp>
        <p:nvSpPr>
          <p:cNvPr id="113" name="Round Same Side Corner Rectangle 112"/>
          <p:cNvSpPr/>
          <p:nvPr>
            <p:custDataLst>
              <p:tags r:id="rId23"/>
            </p:custDataLst>
          </p:nvPr>
        </p:nvSpPr>
        <p:spPr bwMode="auto">
          <a:xfrm rot="16200000">
            <a:off x="1045476" y="3579933"/>
            <a:ext cx="1275510" cy="503151"/>
          </a:xfrm>
          <a:prstGeom prst="round2SameRect">
            <a:avLst>
              <a:gd name="adj1" fmla="val 20755"/>
              <a:gd name="adj2" fmla="val 0"/>
            </a:avLst>
          </a:prstGeom>
          <a:solidFill>
            <a:schemeClr val="accent5"/>
          </a:solidFill>
          <a:ln w="63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defTabSz="685800">
              <a:lnSpc>
                <a:spcPct val="80000"/>
              </a:lnSpc>
              <a:spcBef>
                <a:spcPct val="20000"/>
              </a:spcBef>
              <a:buClr>
                <a:srgbClr val="FFFFFF"/>
              </a:buClr>
              <a:buSzPct val="100000"/>
              <a:defRPr/>
            </a:pPr>
            <a:r>
              <a:rPr lang="en-US" sz="1125" b="1" kern="0" cap="all" dirty="0">
                <a:ln>
                  <a:solidFill>
                    <a:srgbClr val="FFFFFF">
                      <a:alpha val="0"/>
                    </a:srgbClr>
                  </a:solidFill>
                </a:ln>
                <a:solidFill>
                  <a:srgbClr val="FFFFFF"/>
                </a:solidFill>
                <a:latin typeface="Arial"/>
              </a:rPr>
              <a:t>Incremental</a:t>
            </a:r>
          </a:p>
          <a:p>
            <a:pPr algn="ctr" defTabSz="685800">
              <a:lnSpc>
                <a:spcPct val="80000"/>
              </a:lnSpc>
              <a:spcBef>
                <a:spcPct val="20000"/>
              </a:spcBef>
              <a:buClr>
                <a:srgbClr val="FFFFFF"/>
              </a:buClr>
              <a:buSzPct val="100000"/>
              <a:defRPr/>
            </a:pPr>
            <a:r>
              <a:rPr lang="en-US" sz="1125" b="1" kern="0" cap="all" dirty="0">
                <a:ln>
                  <a:solidFill>
                    <a:srgbClr val="FFFFFF">
                      <a:alpha val="0"/>
                    </a:srgbClr>
                  </a:solidFill>
                </a:ln>
                <a:solidFill>
                  <a:srgbClr val="FFFFFF"/>
                </a:solidFill>
                <a:latin typeface="Arial"/>
              </a:rPr>
              <a:t>Delivery</a:t>
            </a:r>
          </a:p>
        </p:txBody>
      </p:sp>
      <p:sp>
        <p:nvSpPr>
          <p:cNvPr id="114" name="TextBox 113"/>
          <p:cNvSpPr txBox="1"/>
          <p:nvPr>
            <p:custDataLst>
              <p:tags r:id="rId24"/>
            </p:custDataLst>
          </p:nvPr>
        </p:nvSpPr>
        <p:spPr>
          <a:xfrm>
            <a:off x="2776816" y="2724847"/>
            <a:ext cx="914033" cy="265457"/>
          </a:xfrm>
          <a:prstGeom prst="rect">
            <a:avLst/>
          </a:prstGeom>
          <a:solidFill>
            <a:srgbClr val="FFFFFF">
              <a:lumMod val="95000"/>
            </a:srgbClr>
          </a:solidFill>
        </p:spPr>
        <p:txBody>
          <a:bodyPr wrap="none" rtlCol="0">
            <a:spAutoFit/>
          </a:bodyPr>
          <a:lstStyle/>
          <a:p>
            <a:pPr defTabSz="685800">
              <a:defRPr/>
            </a:pPr>
            <a:r>
              <a:rPr lang="en-US" sz="1125" kern="0" dirty="0">
                <a:solidFill>
                  <a:schemeClr val="accent1"/>
                </a:solidFill>
                <a:latin typeface="Arial"/>
              </a:rPr>
              <a:t>Documents</a:t>
            </a:r>
          </a:p>
        </p:txBody>
      </p:sp>
      <p:sp>
        <p:nvSpPr>
          <p:cNvPr id="115" name="TextBox 114"/>
          <p:cNvSpPr txBox="1"/>
          <p:nvPr>
            <p:custDataLst>
              <p:tags r:id="rId25"/>
            </p:custDataLst>
          </p:nvPr>
        </p:nvSpPr>
        <p:spPr>
          <a:xfrm>
            <a:off x="4040563" y="2724847"/>
            <a:ext cx="914033" cy="265457"/>
          </a:xfrm>
          <a:prstGeom prst="rect">
            <a:avLst/>
          </a:prstGeom>
          <a:solidFill>
            <a:srgbClr val="FFFFFF">
              <a:lumMod val="95000"/>
            </a:srgbClr>
          </a:solidFill>
        </p:spPr>
        <p:txBody>
          <a:bodyPr wrap="none" rtlCol="0">
            <a:spAutoFit/>
          </a:bodyPr>
          <a:lstStyle/>
          <a:p>
            <a:pPr defTabSz="685800">
              <a:defRPr/>
            </a:pPr>
            <a:r>
              <a:rPr lang="en-US" sz="1125" kern="0" dirty="0">
                <a:solidFill>
                  <a:schemeClr val="accent1"/>
                </a:solidFill>
                <a:latin typeface="Arial"/>
              </a:rPr>
              <a:t>Documents</a:t>
            </a:r>
          </a:p>
        </p:txBody>
      </p:sp>
      <p:sp>
        <p:nvSpPr>
          <p:cNvPr id="116" name="TextBox 115"/>
          <p:cNvSpPr txBox="1"/>
          <p:nvPr>
            <p:custDataLst>
              <p:tags r:id="rId26"/>
            </p:custDataLst>
          </p:nvPr>
        </p:nvSpPr>
        <p:spPr>
          <a:xfrm>
            <a:off x="5128542" y="2715969"/>
            <a:ext cx="1354858" cy="265457"/>
          </a:xfrm>
          <a:prstGeom prst="rect">
            <a:avLst/>
          </a:prstGeom>
          <a:solidFill>
            <a:srgbClr val="FFFFFF">
              <a:lumMod val="95000"/>
            </a:srgbClr>
          </a:solidFill>
        </p:spPr>
        <p:txBody>
          <a:bodyPr wrap="none" rtlCol="0">
            <a:spAutoFit/>
          </a:bodyPr>
          <a:lstStyle/>
          <a:p>
            <a:pPr defTabSz="685800">
              <a:defRPr/>
            </a:pPr>
            <a:r>
              <a:rPr lang="en-US" sz="1125" kern="0">
                <a:solidFill>
                  <a:schemeClr val="accent1"/>
                </a:solidFill>
                <a:latin typeface="Arial"/>
              </a:rPr>
              <a:t>Unverified System</a:t>
            </a:r>
            <a:endParaRPr lang="en-US" sz="1125" kern="0" dirty="0">
              <a:solidFill>
                <a:schemeClr val="accent1"/>
              </a:solidFill>
              <a:latin typeface="Arial"/>
            </a:endParaRPr>
          </a:p>
        </p:txBody>
      </p:sp>
      <p:sp>
        <p:nvSpPr>
          <p:cNvPr id="117" name="TextBox 116"/>
          <p:cNvSpPr txBox="1"/>
          <p:nvPr>
            <p:custDataLst>
              <p:tags r:id="rId27"/>
            </p:custDataLst>
          </p:nvPr>
        </p:nvSpPr>
        <p:spPr>
          <a:xfrm>
            <a:off x="6725497" y="2724847"/>
            <a:ext cx="697627" cy="265457"/>
          </a:xfrm>
          <a:prstGeom prst="rect">
            <a:avLst/>
          </a:prstGeom>
          <a:solidFill>
            <a:srgbClr val="FFFFFF">
              <a:lumMod val="95000"/>
            </a:srgbClr>
          </a:solidFill>
        </p:spPr>
        <p:txBody>
          <a:bodyPr wrap="none" rtlCol="0">
            <a:spAutoFit/>
          </a:bodyPr>
          <a:lstStyle/>
          <a:p>
            <a:pPr defTabSz="685800">
              <a:defRPr/>
            </a:pPr>
            <a:r>
              <a:rPr lang="en-US" sz="1125" b="1" kern="0" dirty="0">
                <a:solidFill>
                  <a:schemeClr val="accent1"/>
                </a:solidFill>
                <a:latin typeface="Arial"/>
              </a:rPr>
              <a:t>System</a:t>
            </a:r>
          </a:p>
        </p:txBody>
      </p:sp>
      <p:sp>
        <p:nvSpPr>
          <p:cNvPr id="70" name="Rectangle 69"/>
          <p:cNvSpPr/>
          <p:nvPr/>
        </p:nvSpPr>
        <p:spPr bwMode="auto">
          <a:xfrm>
            <a:off x="3474243" y="3671888"/>
            <a:ext cx="57151" cy="45244"/>
          </a:xfrm>
          <a:prstGeom prst="rect">
            <a:avLst/>
          </a:prstGeom>
          <a:solidFill>
            <a:srgbClr val="0085AC"/>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sp>
        <p:nvSpPr>
          <p:cNvPr id="81" name="Rectangle 80"/>
          <p:cNvSpPr/>
          <p:nvPr/>
        </p:nvSpPr>
        <p:spPr bwMode="auto">
          <a:xfrm>
            <a:off x="2805112" y="3671888"/>
            <a:ext cx="57151" cy="45244"/>
          </a:xfrm>
          <a:prstGeom prst="rect">
            <a:avLst/>
          </a:prstGeom>
          <a:solidFill>
            <a:srgbClr val="0085AC"/>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sp>
        <p:nvSpPr>
          <p:cNvPr id="85" name="Rectangle 84"/>
          <p:cNvSpPr/>
          <p:nvPr/>
        </p:nvSpPr>
        <p:spPr bwMode="auto">
          <a:xfrm>
            <a:off x="2197893" y="3671888"/>
            <a:ext cx="57151" cy="45244"/>
          </a:xfrm>
          <a:prstGeom prst="rect">
            <a:avLst/>
          </a:prstGeom>
          <a:solidFill>
            <a:srgbClr val="0085AC"/>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sp>
        <p:nvSpPr>
          <p:cNvPr id="89" name="Rectangle 88"/>
          <p:cNvSpPr/>
          <p:nvPr/>
        </p:nvSpPr>
        <p:spPr bwMode="auto">
          <a:xfrm>
            <a:off x="4083843" y="3671888"/>
            <a:ext cx="57151" cy="45244"/>
          </a:xfrm>
          <a:prstGeom prst="rect">
            <a:avLst/>
          </a:prstGeom>
          <a:solidFill>
            <a:srgbClr val="0085AC"/>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sp>
        <p:nvSpPr>
          <p:cNvPr id="93" name="Rectangle 92"/>
          <p:cNvSpPr/>
          <p:nvPr/>
        </p:nvSpPr>
        <p:spPr bwMode="auto">
          <a:xfrm>
            <a:off x="4726781" y="3671888"/>
            <a:ext cx="57151" cy="45244"/>
          </a:xfrm>
          <a:prstGeom prst="rect">
            <a:avLst/>
          </a:prstGeom>
          <a:solidFill>
            <a:srgbClr val="0085AC"/>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sp>
        <p:nvSpPr>
          <p:cNvPr id="101" name="Rectangle 100"/>
          <p:cNvSpPr/>
          <p:nvPr/>
        </p:nvSpPr>
        <p:spPr bwMode="auto">
          <a:xfrm>
            <a:off x="5322093" y="3671888"/>
            <a:ext cx="57151" cy="45244"/>
          </a:xfrm>
          <a:prstGeom prst="rect">
            <a:avLst/>
          </a:prstGeom>
          <a:solidFill>
            <a:srgbClr val="0085AC"/>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sp>
        <p:nvSpPr>
          <p:cNvPr id="109" name="Rectangle 108"/>
          <p:cNvSpPr/>
          <p:nvPr/>
        </p:nvSpPr>
        <p:spPr bwMode="auto">
          <a:xfrm>
            <a:off x="6031706" y="3671888"/>
            <a:ext cx="57151" cy="45244"/>
          </a:xfrm>
          <a:prstGeom prst="rect">
            <a:avLst/>
          </a:prstGeom>
          <a:solidFill>
            <a:srgbClr val="0085AC"/>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sp>
        <p:nvSpPr>
          <p:cNvPr id="135" name="Rectangle 134"/>
          <p:cNvSpPr/>
          <p:nvPr/>
        </p:nvSpPr>
        <p:spPr bwMode="auto">
          <a:xfrm>
            <a:off x="6641306" y="3671888"/>
            <a:ext cx="57151" cy="45244"/>
          </a:xfrm>
          <a:prstGeom prst="rect">
            <a:avLst/>
          </a:prstGeom>
          <a:solidFill>
            <a:srgbClr val="0085AC"/>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pic>
        <p:nvPicPr>
          <p:cNvPr id="97" name="Picture 96" descr="big-box.png"/>
          <p:cNvPicPr>
            <a:picLocks noChangeAspect="1"/>
          </p:cNvPicPr>
          <p:nvPr/>
        </p:nvPicPr>
        <p:blipFill>
          <a:blip r:embed="rId30" cstate="print">
            <a:extLst>
              <a:ext uri="{28A0092B-C50C-407E-A947-70E740481C1C}">
                <a14:useLocalDpi xmlns:a14="http://schemas.microsoft.com/office/drawing/2010/main"/>
              </a:ext>
            </a:extLst>
          </a:blip>
          <a:stretch>
            <a:fillRect/>
          </a:stretch>
        </p:blipFill>
        <p:spPr>
          <a:xfrm>
            <a:off x="6760166" y="2272238"/>
            <a:ext cx="486215" cy="463525"/>
          </a:xfrm>
          <a:prstGeom prst="rect">
            <a:avLst/>
          </a:prstGeom>
        </p:spPr>
      </p:pic>
      <p:pic>
        <p:nvPicPr>
          <p:cNvPr id="136" name="Picture 135" descr="big-box.png"/>
          <p:cNvPicPr>
            <a:picLocks noChangeAspect="1"/>
          </p:cNvPicPr>
          <p:nvPr/>
        </p:nvPicPr>
        <p:blipFill>
          <a:blip r:embed="rId31" cstate="print">
            <a:extLst>
              <a:ext uri="{28A0092B-C50C-407E-A947-70E740481C1C}">
                <a14:useLocalDpi xmlns:a14="http://schemas.microsoft.com/office/drawing/2010/main"/>
              </a:ext>
            </a:extLst>
          </a:blip>
          <a:stretch>
            <a:fillRect/>
          </a:stretch>
        </p:blipFill>
        <p:spPr>
          <a:xfrm>
            <a:off x="6760166" y="3824332"/>
            <a:ext cx="523808" cy="499364"/>
          </a:xfrm>
          <a:prstGeom prst="rect">
            <a:avLst/>
          </a:prstGeom>
        </p:spPr>
      </p:pic>
      <p:pic>
        <p:nvPicPr>
          <p:cNvPr id="138" name="Picture 137" descr="big-box.png"/>
          <p:cNvPicPr>
            <a:picLocks noChangeAspect="1"/>
          </p:cNvPicPr>
          <p:nvPr/>
        </p:nvPicPr>
        <p:blipFill>
          <a:blip r:embed="rId32" cstate="print">
            <a:extLst>
              <a:ext uri="{28A0092B-C50C-407E-A947-70E740481C1C}">
                <a14:useLocalDpi xmlns:a14="http://schemas.microsoft.com/office/drawing/2010/main"/>
              </a:ext>
            </a:extLst>
          </a:blip>
          <a:stretch>
            <a:fillRect/>
          </a:stretch>
        </p:blipFill>
        <p:spPr>
          <a:xfrm>
            <a:off x="5914935" y="3858726"/>
            <a:ext cx="451653" cy="430576"/>
          </a:xfrm>
          <a:prstGeom prst="rect">
            <a:avLst/>
          </a:prstGeom>
        </p:spPr>
      </p:pic>
      <p:pic>
        <p:nvPicPr>
          <p:cNvPr id="139" name="Picture 138" descr="big-box.png"/>
          <p:cNvPicPr>
            <a:picLocks noChangeAspect="1"/>
          </p:cNvPicPr>
          <p:nvPr/>
        </p:nvPicPr>
        <p:blipFill>
          <a:blip r:embed="rId33" cstate="print">
            <a:extLst>
              <a:ext uri="{28A0092B-C50C-407E-A947-70E740481C1C}">
                <a14:useLocalDpi xmlns:a14="http://schemas.microsoft.com/office/drawing/2010/main"/>
              </a:ext>
            </a:extLst>
          </a:blip>
          <a:stretch>
            <a:fillRect/>
          </a:stretch>
        </p:blipFill>
        <p:spPr>
          <a:xfrm>
            <a:off x="5194815" y="3904136"/>
            <a:ext cx="356387" cy="339756"/>
          </a:xfrm>
          <a:prstGeom prst="rect">
            <a:avLst/>
          </a:prstGeom>
        </p:spPr>
      </p:pic>
      <p:pic>
        <p:nvPicPr>
          <p:cNvPr id="140" name="Picture 139" descr="big-box.png"/>
          <p:cNvPicPr>
            <a:picLocks noChangeAspect="1"/>
          </p:cNvPicPr>
          <p:nvPr/>
        </p:nvPicPr>
        <p:blipFill>
          <a:blip r:embed="rId33" cstate="print">
            <a:extLst>
              <a:ext uri="{28A0092B-C50C-407E-A947-70E740481C1C}">
                <a14:useLocalDpi xmlns:a14="http://schemas.microsoft.com/office/drawing/2010/main"/>
              </a:ext>
            </a:extLst>
          </a:blip>
          <a:stretch>
            <a:fillRect/>
          </a:stretch>
        </p:blipFill>
        <p:spPr>
          <a:xfrm>
            <a:off x="4617934" y="3904136"/>
            <a:ext cx="356387" cy="339756"/>
          </a:xfrm>
          <a:prstGeom prst="rect">
            <a:avLst/>
          </a:prstGeom>
        </p:spPr>
      </p:pic>
      <p:pic>
        <p:nvPicPr>
          <p:cNvPr id="142" name="Picture 141" descr="big-box.png"/>
          <p:cNvPicPr>
            <a:picLocks noChangeAspect="1"/>
          </p:cNvPicPr>
          <p:nvPr/>
        </p:nvPicPr>
        <p:blipFill>
          <a:blip r:embed="rId34" cstate="print">
            <a:extLst>
              <a:ext uri="{28A0092B-C50C-407E-A947-70E740481C1C}">
                <a14:useLocalDpi xmlns:a14="http://schemas.microsoft.com/office/drawing/2010/main"/>
              </a:ext>
            </a:extLst>
          </a:blip>
          <a:stretch>
            <a:fillRect/>
          </a:stretch>
        </p:blipFill>
        <p:spPr>
          <a:xfrm>
            <a:off x="4001379" y="3929943"/>
            <a:ext cx="302248" cy="288143"/>
          </a:xfrm>
          <a:prstGeom prst="rect">
            <a:avLst/>
          </a:prstGeom>
        </p:spPr>
      </p:pic>
      <p:pic>
        <p:nvPicPr>
          <p:cNvPr id="143" name="Picture 142" descr="big-box.png"/>
          <p:cNvPicPr>
            <a:picLocks noChangeAspect="1"/>
          </p:cNvPicPr>
          <p:nvPr/>
        </p:nvPicPr>
        <p:blipFill>
          <a:blip r:embed="rId35" cstate="print">
            <a:extLst>
              <a:ext uri="{28A0092B-C50C-407E-A947-70E740481C1C}">
                <a14:useLocalDpi xmlns:a14="http://schemas.microsoft.com/office/drawing/2010/main"/>
              </a:ext>
            </a:extLst>
          </a:blip>
          <a:stretch>
            <a:fillRect/>
          </a:stretch>
        </p:blipFill>
        <p:spPr>
          <a:xfrm>
            <a:off x="3419695" y="3951174"/>
            <a:ext cx="257706" cy="245680"/>
          </a:xfrm>
          <a:prstGeom prst="rect">
            <a:avLst/>
          </a:prstGeom>
        </p:spPr>
      </p:pic>
      <p:pic>
        <p:nvPicPr>
          <p:cNvPr id="144" name="Picture 143" descr="big-box.png"/>
          <p:cNvPicPr>
            <a:picLocks noChangeAspect="1"/>
          </p:cNvPicPr>
          <p:nvPr/>
        </p:nvPicPr>
        <p:blipFill>
          <a:blip r:embed="rId36" cstate="print">
            <a:extLst>
              <a:ext uri="{28A0092B-C50C-407E-A947-70E740481C1C}">
                <a14:useLocalDpi xmlns:a14="http://schemas.microsoft.com/office/drawing/2010/main"/>
              </a:ext>
            </a:extLst>
          </a:blip>
          <a:stretch>
            <a:fillRect/>
          </a:stretch>
        </p:blipFill>
        <p:spPr>
          <a:xfrm>
            <a:off x="2736742" y="3959343"/>
            <a:ext cx="240569" cy="229343"/>
          </a:xfrm>
          <a:prstGeom prst="rect">
            <a:avLst/>
          </a:prstGeom>
        </p:spPr>
      </p:pic>
      <p:pic>
        <p:nvPicPr>
          <p:cNvPr id="146" name="Picture 145" descr="big-box.png"/>
          <p:cNvPicPr>
            <a:picLocks noChangeAspect="1"/>
          </p:cNvPicPr>
          <p:nvPr/>
        </p:nvPicPr>
        <p:blipFill>
          <a:blip r:embed="rId37" cstate="print">
            <a:extLst>
              <a:ext uri="{28A0092B-C50C-407E-A947-70E740481C1C}">
                <a14:useLocalDpi xmlns:a14="http://schemas.microsoft.com/office/drawing/2010/main"/>
              </a:ext>
            </a:extLst>
          </a:blip>
          <a:stretch>
            <a:fillRect/>
          </a:stretch>
        </p:blipFill>
        <p:spPr>
          <a:xfrm>
            <a:off x="2115398" y="3979989"/>
            <a:ext cx="197256" cy="188051"/>
          </a:xfrm>
          <a:prstGeom prst="rect">
            <a:avLst/>
          </a:prstGeom>
        </p:spPr>
      </p:pic>
    </p:spTree>
    <p:extLst>
      <p:ext uri="{BB962C8B-B14F-4D97-AF65-F5344CB8AC3E}">
        <p14:creationId xmlns:p14="http://schemas.microsoft.com/office/powerpoint/2010/main" val="282624967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And delivers better economics </a:t>
            </a:r>
            <a:endParaRPr lang="en-US" dirty="0"/>
          </a:p>
        </p:txBody>
      </p:sp>
      <p:sp>
        <p:nvSpPr>
          <p:cNvPr id="4" name="Content Placeholder 3"/>
          <p:cNvSpPr>
            <a:spLocks noGrp="1"/>
          </p:cNvSpPr>
          <p:nvPr>
            <p:ph idx="4294967295"/>
          </p:nvPr>
        </p:nvSpPr>
        <p:spPr>
          <a:xfrm>
            <a:off x="1284590" y="803116"/>
            <a:ext cx="6227763" cy="347663"/>
          </a:xfrm>
        </p:spPr>
        <p:txBody>
          <a:bodyPr/>
          <a:lstStyle/>
          <a:p>
            <a:pPr marL="0" indent="0">
              <a:buNone/>
            </a:pPr>
            <a:r>
              <a:rPr lang="en-IN" dirty="0"/>
              <a:t>Early delivery provides fast value with fast feedback</a:t>
            </a:r>
          </a:p>
        </p:txBody>
      </p:sp>
      <p:sp>
        <p:nvSpPr>
          <p:cNvPr id="10" name="TextBox 9"/>
          <p:cNvSpPr txBox="1"/>
          <p:nvPr/>
        </p:nvSpPr>
        <p:spPr>
          <a:xfrm>
            <a:off x="4163945" y="4603646"/>
            <a:ext cx="562975" cy="300082"/>
          </a:xfrm>
          <a:prstGeom prst="rect">
            <a:avLst/>
          </a:prstGeom>
          <a:noFill/>
        </p:spPr>
        <p:txBody>
          <a:bodyPr wrap="none" rtlCol="0">
            <a:spAutoFit/>
          </a:bodyPr>
          <a:lstStyle/>
          <a:p>
            <a:pPr defTabSz="685800"/>
            <a:r>
              <a:rPr lang="en-US" sz="1350" dirty="0">
                <a:latin typeface="Arial"/>
                <a:cs typeface="Arial"/>
              </a:rPr>
              <a:t>Time</a:t>
            </a:r>
          </a:p>
        </p:txBody>
      </p:sp>
      <p:grpSp>
        <p:nvGrpSpPr>
          <p:cNvPr id="2" name="Group 4"/>
          <p:cNvGrpSpPr/>
          <p:nvPr>
            <p:custDataLst>
              <p:tags r:id="rId1"/>
            </p:custDataLst>
          </p:nvPr>
        </p:nvGrpSpPr>
        <p:grpSpPr>
          <a:xfrm>
            <a:off x="1847878" y="1534557"/>
            <a:ext cx="5386959" cy="3048594"/>
            <a:chOff x="443484" y="1354932"/>
            <a:chExt cx="6739128" cy="4608576"/>
          </a:xfrm>
        </p:grpSpPr>
        <p:cxnSp>
          <p:nvCxnSpPr>
            <p:cNvPr id="6" name="Straight Connector 5"/>
            <p:cNvCxnSpPr/>
            <p:nvPr/>
          </p:nvCxnSpPr>
          <p:spPr bwMode="auto">
            <a:xfrm rot="5400000">
              <a:off x="-1850416" y="3659220"/>
              <a:ext cx="4608576" cy="0"/>
            </a:xfrm>
            <a:prstGeom prst="line">
              <a:avLst/>
            </a:prstGeom>
            <a:solidFill>
              <a:schemeClr val="accent1"/>
            </a:solidFill>
            <a:ln w="38100" cap="flat" cmpd="sng" algn="ctr">
              <a:solidFill>
                <a:schemeClr val="tx1">
                  <a:lumMod val="65000"/>
                  <a:lumOff val="35000"/>
                </a:schemeClr>
              </a:solidFill>
              <a:prstDash val="solid"/>
              <a:round/>
              <a:headEnd type="triangle" w="med" len="med"/>
              <a:tailEnd type="none" w="med" len="med"/>
            </a:ln>
            <a:effectLst/>
          </p:spPr>
        </p:cxnSp>
        <p:cxnSp>
          <p:nvCxnSpPr>
            <p:cNvPr id="7" name="Straight Connector 6"/>
            <p:cNvCxnSpPr/>
            <p:nvPr/>
          </p:nvCxnSpPr>
          <p:spPr bwMode="auto">
            <a:xfrm>
              <a:off x="443484" y="5943600"/>
              <a:ext cx="6739128" cy="0"/>
            </a:xfrm>
            <a:prstGeom prst="line">
              <a:avLst/>
            </a:prstGeom>
            <a:solidFill>
              <a:schemeClr val="accent1"/>
            </a:solidFill>
            <a:ln w="38100" cap="flat" cmpd="sng" algn="ctr">
              <a:solidFill>
                <a:schemeClr val="tx1">
                  <a:lumMod val="65000"/>
                  <a:lumOff val="35000"/>
                </a:schemeClr>
              </a:solidFill>
              <a:prstDash val="solid"/>
              <a:round/>
              <a:headEnd type="none" w="med" len="med"/>
              <a:tailEnd type="triangle" w="med" len="med"/>
            </a:ln>
            <a:effectLst/>
          </p:spPr>
        </p:cxnSp>
      </p:grpSp>
      <p:sp>
        <p:nvSpPr>
          <p:cNvPr id="8" name="TextBox 7"/>
          <p:cNvSpPr txBox="1"/>
          <p:nvPr>
            <p:custDataLst>
              <p:tags r:id="rId2"/>
            </p:custDataLst>
          </p:nvPr>
        </p:nvSpPr>
        <p:spPr>
          <a:xfrm rot="16200000">
            <a:off x="1045701" y="2752907"/>
            <a:ext cx="1287532" cy="300082"/>
          </a:xfrm>
          <a:prstGeom prst="rect">
            <a:avLst/>
          </a:prstGeom>
          <a:noFill/>
        </p:spPr>
        <p:txBody>
          <a:bodyPr wrap="none" rtlCol="0">
            <a:spAutoFit/>
          </a:bodyPr>
          <a:lstStyle/>
          <a:p>
            <a:pPr defTabSz="685800"/>
            <a:r>
              <a:rPr lang="en-US" sz="1350" dirty="0">
                <a:latin typeface="Arial"/>
                <a:cs typeface="Arial"/>
              </a:rPr>
              <a:t>Value Delivery</a:t>
            </a:r>
          </a:p>
        </p:txBody>
      </p:sp>
      <p:cxnSp>
        <p:nvCxnSpPr>
          <p:cNvPr id="9" name="Straight Connector 8"/>
          <p:cNvCxnSpPr/>
          <p:nvPr/>
        </p:nvCxnSpPr>
        <p:spPr bwMode="auto">
          <a:xfrm rot="16200000" flipV="1">
            <a:off x="4722988" y="3025932"/>
            <a:ext cx="3048594" cy="0"/>
          </a:xfrm>
          <a:prstGeom prst="line">
            <a:avLst/>
          </a:prstGeom>
          <a:solidFill>
            <a:schemeClr val="accent1"/>
          </a:solidFill>
          <a:ln w="22225" cap="flat" cmpd="sng" algn="ctr">
            <a:solidFill>
              <a:schemeClr val="tx1">
                <a:lumMod val="65000"/>
                <a:lumOff val="35000"/>
              </a:schemeClr>
            </a:solidFill>
            <a:prstDash val="dash"/>
            <a:round/>
            <a:headEnd type="none" w="med" len="med"/>
            <a:tailEnd type="none" w="med" len="med"/>
          </a:ln>
          <a:effectLst/>
        </p:spPr>
      </p:cxnSp>
      <p:cxnSp>
        <p:nvCxnSpPr>
          <p:cNvPr id="11" name="Straight Connector 10"/>
          <p:cNvCxnSpPr/>
          <p:nvPr/>
        </p:nvCxnSpPr>
        <p:spPr bwMode="auto">
          <a:xfrm rot="16200000" flipV="1">
            <a:off x="1102412" y="3073676"/>
            <a:ext cx="2995919" cy="0"/>
          </a:xfrm>
          <a:prstGeom prst="line">
            <a:avLst/>
          </a:prstGeom>
          <a:solidFill>
            <a:schemeClr val="accent1"/>
          </a:solidFill>
          <a:ln w="12700" cap="flat" cmpd="sng" algn="ctr">
            <a:solidFill>
              <a:schemeClr val="tx1">
                <a:lumMod val="65000"/>
                <a:lumOff val="35000"/>
              </a:schemeClr>
            </a:solidFill>
            <a:prstDash val="dash"/>
            <a:round/>
            <a:headEnd type="none" w="med" len="med"/>
            <a:tailEnd type="none" w="med" len="med"/>
          </a:ln>
          <a:effectLst/>
        </p:spPr>
      </p:cxnSp>
      <p:cxnSp>
        <p:nvCxnSpPr>
          <p:cNvPr id="12" name="Straight Connector 11"/>
          <p:cNvCxnSpPr/>
          <p:nvPr/>
        </p:nvCxnSpPr>
        <p:spPr bwMode="auto">
          <a:xfrm rot="16200000" flipV="1">
            <a:off x="1825337" y="3073676"/>
            <a:ext cx="2995919" cy="0"/>
          </a:xfrm>
          <a:prstGeom prst="line">
            <a:avLst/>
          </a:prstGeom>
          <a:solidFill>
            <a:schemeClr val="accent1"/>
          </a:solidFill>
          <a:ln w="12700" cap="flat" cmpd="sng" algn="ctr">
            <a:solidFill>
              <a:schemeClr val="tx1">
                <a:lumMod val="65000"/>
                <a:lumOff val="35000"/>
              </a:schemeClr>
            </a:solidFill>
            <a:prstDash val="dash"/>
            <a:round/>
            <a:headEnd type="none" w="med" len="med"/>
            <a:tailEnd type="none" w="med" len="med"/>
          </a:ln>
          <a:effectLst/>
        </p:spPr>
      </p:cxnSp>
      <p:cxnSp>
        <p:nvCxnSpPr>
          <p:cNvPr id="13" name="Straight Connector 12"/>
          <p:cNvCxnSpPr/>
          <p:nvPr/>
        </p:nvCxnSpPr>
        <p:spPr bwMode="auto">
          <a:xfrm rot="16200000" flipV="1">
            <a:off x="2548261" y="3073676"/>
            <a:ext cx="2995919" cy="0"/>
          </a:xfrm>
          <a:prstGeom prst="line">
            <a:avLst/>
          </a:prstGeom>
          <a:solidFill>
            <a:schemeClr val="accent1"/>
          </a:solidFill>
          <a:ln w="12700" cap="flat" cmpd="sng" algn="ctr">
            <a:solidFill>
              <a:schemeClr val="tx1">
                <a:lumMod val="65000"/>
                <a:lumOff val="35000"/>
              </a:schemeClr>
            </a:solidFill>
            <a:prstDash val="dash"/>
            <a:round/>
            <a:headEnd type="none" w="med" len="med"/>
            <a:tailEnd type="none" w="med" len="med"/>
          </a:ln>
          <a:effectLst/>
        </p:spPr>
      </p:cxnSp>
      <p:cxnSp>
        <p:nvCxnSpPr>
          <p:cNvPr id="14" name="Straight Connector 13"/>
          <p:cNvCxnSpPr/>
          <p:nvPr/>
        </p:nvCxnSpPr>
        <p:spPr bwMode="auto">
          <a:xfrm rot="16200000" flipV="1">
            <a:off x="3271185" y="3073677"/>
            <a:ext cx="2995919" cy="0"/>
          </a:xfrm>
          <a:prstGeom prst="line">
            <a:avLst/>
          </a:prstGeom>
          <a:solidFill>
            <a:schemeClr val="accent1"/>
          </a:solidFill>
          <a:ln w="12700" cap="flat" cmpd="sng" algn="ctr">
            <a:solidFill>
              <a:schemeClr val="tx1">
                <a:lumMod val="65000"/>
                <a:lumOff val="35000"/>
              </a:schemeClr>
            </a:solidFill>
            <a:prstDash val="dash"/>
            <a:round/>
            <a:headEnd type="none" w="med" len="med"/>
            <a:tailEnd type="none" w="med" len="med"/>
          </a:ln>
          <a:effectLst/>
        </p:spPr>
      </p:cxnSp>
      <p:cxnSp>
        <p:nvCxnSpPr>
          <p:cNvPr id="15" name="Straight Connector 14"/>
          <p:cNvCxnSpPr/>
          <p:nvPr/>
        </p:nvCxnSpPr>
        <p:spPr bwMode="auto">
          <a:xfrm rot="16200000" flipV="1">
            <a:off x="3994109" y="3073677"/>
            <a:ext cx="2995919" cy="0"/>
          </a:xfrm>
          <a:prstGeom prst="line">
            <a:avLst/>
          </a:prstGeom>
          <a:solidFill>
            <a:schemeClr val="accent1"/>
          </a:solidFill>
          <a:ln w="12700" cap="flat" cmpd="sng" algn="ctr">
            <a:solidFill>
              <a:schemeClr val="tx1">
                <a:lumMod val="65000"/>
                <a:lumOff val="35000"/>
              </a:schemeClr>
            </a:solidFill>
            <a:prstDash val="dash"/>
            <a:round/>
            <a:headEnd type="none" w="med" len="med"/>
            <a:tailEnd type="none" w="med" len="med"/>
          </a:ln>
          <a:effectLst/>
        </p:spPr>
      </p:cxnSp>
      <p:sp>
        <p:nvSpPr>
          <p:cNvPr id="16" name="Rectangular Callout 15"/>
          <p:cNvSpPr/>
          <p:nvPr/>
        </p:nvSpPr>
        <p:spPr bwMode="auto">
          <a:xfrm>
            <a:off x="2602387" y="3083220"/>
            <a:ext cx="1244108" cy="361082"/>
          </a:xfrm>
          <a:prstGeom prst="wedgeRectCallout">
            <a:avLst>
              <a:gd name="adj1" fmla="val 51833"/>
              <a:gd name="adj2" fmla="val 109911"/>
            </a:avLst>
          </a:prstGeom>
          <a:solidFill>
            <a:schemeClr val="accent1"/>
          </a:solidFill>
          <a:ln w="6350" cap="flat" cmpd="sng" algn="ctr">
            <a:no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bodyPr>
          <a:lstStyle/>
          <a:p>
            <a:pPr marL="257175" indent="-257175" algn="ctr" defTabSz="685800">
              <a:lnSpc>
                <a:spcPct val="90000"/>
              </a:lnSpc>
              <a:spcBef>
                <a:spcPct val="20000"/>
              </a:spcBef>
              <a:buClr>
                <a:srgbClr val="FFFFFF"/>
              </a:buClr>
              <a:buSzPct val="70000"/>
            </a:pPr>
            <a:r>
              <a:rPr lang="en-US" sz="1500" b="1" dirty="0">
                <a:ln>
                  <a:solidFill>
                    <a:srgbClr val="0085AC">
                      <a:alpha val="2000"/>
                    </a:srgbClr>
                  </a:solidFill>
                </a:ln>
                <a:solidFill>
                  <a:srgbClr val="FFFFFF"/>
                </a:solidFill>
                <a:latin typeface="Arial"/>
                <a:cs typeface="Arial"/>
              </a:rPr>
              <a:t>Incremental</a:t>
            </a:r>
          </a:p>
        </p:txBody>
      </p:sp>
      <p:sp>
        <p:nvSpPr>
          <p:cNvPr id="17" name="Rectangular Callout 16"/>
          <p:cNvSpPr/>
          <p:nvPr/>
        </p:nvSpPr>
        <p:spPr bwMode="auto">
          <a:xfrm>
            <a:off x="6639895" y="2179199"/>
            <a:ext cx="1094434" cy="361082"/>
          </a:xfrm>
          <a:prstGeom prst="wedgeRectCallout">
            <a:avLst>
              <a:gd name="adj1" fmla="val -73183"/>
              <a:gd name="adj2" fmla="val 168140"/>
            </a:avLst>
          </a:prstGeom>
          <a:solidFill>
            <a:schemeClr val="accent1"/>
          </a:solidFill>
          <a:ln w="6350" cap="flat" cmpd="sng" algn="ctr">
            <a:no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bodyPr>
          <a:lstStyle/>
          <a:p>
            <a:pPr marL="257175" indent="-257175" algn="ctr" defTabSz="685800">
              <a:lnSpc>
                <a:spcPct val="90000"/>
              </a:lnSpc>
              <a:spcBef>
                <a:spcPct val="20000"/>
              </a:spcBef>
              <a:buClr>
                <a:srgbClr val="FFFFFF"/>
              </a:buClr>
              <a:buSzPct val="70000"/>
            </a:pPr>
            <a:r>
              <a:rPr lang="en-US" sz="1500" b="1" dirty="0">
                <a:ln>
                  <a:solidFill>
                    <a:srgbClr val="0085AC">
                      <a:alpha val="2000"/>
                    </a:srgbClr>
                  </a:solidFill>
                </a:ln>
                <a:solidFill>
                  <a:srgbClr val="FFFFFF"/>
                </a:solidFill>
                <a:latin typeface="Arial"/>
                <a:cs typeface="Arial"/>
              </a:rPr>
              <a:t>Waterfall</a:t>
            </a:r>
          </a:p>
        </p:txBody>
      </p:sp>
      <p:sp>
        <p:nvSpPr>
          <p:cNvPr id="35" name="TextBox 34"/>
          <p:cNvSpPr txBox="1"/>
          <p:nvPr/>
        </p:nvSpPr>
        <p:spPr>
          <a:xfrm>
            <a:off x="3519590" y="1217021"/>
            <a:ext cx="1271502" cy="300082"/>
          </a:xfrm>
          <a:prstGeom prst="rect">
            <a:avLst/>
          </a:prstGeom>
          <a:noFill/>
        </p:spPr>
        <p:txBody>
          <a:bodyPr wrap="none" rtlCol="0">
            <a:spAutoFit/>
          </a:bodyPr>
          <a:lstStyle/>
          <a:p>
            <a:pPr algn="l"/>
            <a:r>
              <a:rPr lang="en-US" sz="1350" dirty="0">
                <a:latin typeface="Arial"/>
                <a:cs typeface="Arial"/>
              </a:rPr>
              <a:t>Fast feedback</a:t>
            </a:r>
          </a:p>
        </p:txBody>
      </p:sp>
      <p:cxnSp>
        <p:nvCxnSpPr>
          <p:cNvPr id="36" name="Straight Arrow Connector 35"/>
          <p:cNvCxnSpPr/>
          <p:nvPr/>
        </p:nvCxnSpPr>
        <p:spPr bwMode="auto">
          <a:xfrm>
            <a:off x="2262291" y="1485396"/>
            <a:ext cx="251460" cy="434340"/>
          </a:xfrm>
          <a:prstGeom prst="straightConnector1">
            <a:avLst/>
          </a:prstGeom>
          <a:solidFill>
            <a:schemeClr val="accent1"/>
          </a:solidFill>
          <a:ln w="9525" cap="flat" cmpd="sng" algn="ctr">
            <a:solidFill>
              <a:schemeClr val="tx1"/>
            </a:solidFill>
            <a:prstDash val="solid"/>
            <a:round/>
            <a:headEnd type="none"/>
            <a:tailEnd type="arrow"/>
          </a:ln>
          <a:effectLst/>
        </p:spPr>
      </p:cxnSp>
      <p:cxnSp>
        <p:nvCxnSpPr>
          <p:cNvPr id="37" name="Straight Arrow Connector 36"/>
          <p:cNvCxnSpPr/>
          <p:nvPr/>
        </p:nvCxnSpPr>
        <p:spPr bwMode="auto">
          <a:xfrm>
            <a:off x="3702471" y="1485396"/>
            <a:ext cx="251460" cy="434340"/>
          </a:xfrm>
          <a:prstGeom prst="straightConnector1">
            <a:avLst/>
          </a:prstGeom>
          <a:solidFill>
            <a:schemeClr val="accent1"/>
          </a:solidFill>
          <a:ln w="9525" cap="flat" cmpd="sng" algn="ctr">
            <a:solidFill>
              <a:schemeClr val="tx1"/>
            </a:solidFill>
            <a:prstDash val="solid"/>
            <a:round/>
            <a:headEnd type="none"/>
            <a:tailEnd type="arrow"/>
          </a:ln>
          <a:effectLst/>
        </p:spPr>
      </p:cxnSp>
      <p:cxnSp>
        <p:nvCxnSpPr>
          <p:cNvPr id="38" name="Straight Arrow Connector 37"/>
          <p:cNvCxnSpPr/>
          <p:nvPr/>
        </p:nvCxnSpPr>
        <p:spPr bwMode="auto">
          <a:xfrm>
            <a:off x="2986191" y="1485396"/>
            <a:ext cx="251460" cy="434340"/>
          </a:xfrm>
          <a:prstGeom prst="straightConnector1">
            <a:avLst/>
          </a:prstGeom>
          <a:solidFill>
            <a:schemeClr val="accent1"/>
          </a:solidFill>
          <a:ln w="9525" cap="flat" cmpd="sng" algn="ctr">
            <a:solidFill>
              <a:schemeClr val="tx1"/>
            </a:solidFill>
            <a:prstDash val="solid"/>
            <a:round/>
            <a:headEnd type="none"/>
            <a:tailEnd type="arrow"/>
          </a:ln>
          <a:effectLst/>
        </p:spPr>
      </p:cxnSp>
      <p:cxnSp>
        <p:nvCxnSpPr>
          <p:cNvPr id="39" name="Straight Arrow Connector 38"/>
          <p:cNvCxnSpPr/>
          <p:nvPr/>
        </p:nvCxnSpPr>
        <p:spPr bwMode="auto">
          <a:xfrm>
            <a:off x="5135031" y="1485396"/>
            <a:ext cx="251460" cy="434340"/>
          </a:xfrm>
          <a:prstGeom prst="straightConnector1">
            <a:avLst/>
          </a:prstGeom>
          <a:solidFill>
            <a:schemeClr val="accent1"/>
          </a:solidFill>
          <a:ln w="9525" cap="flat" cmpd="sng" algn="ctr">
            <a:solidFill>
              <a:schemeClr val="tx1"/>
            </a:solidFill>
            <a:prstDash val="solid"/>
            <a:round/>
            <a:headEnd type="none"/>
            <a:tailEnd type="arrow"/>
          </a:ln>
          <a:effectLst/>
        </p:spPr>
      </p:cxnSp>
      <p:cxnSp>
        <p:nvCxnSpPr>
          <p:cNvPr id="40" name="Straight Arrow Connector 39"/>
          <p:cNvCxnSpPr/>
          <p:nvPr/>
        </p:nvCxnSpPr>
        <p:spPr bwMode="auto">
          <a:xfrm>
            <a:off x="5897031" y="1485396"/>
            <a:ext cx="251460" cy="434340"/>
          </a:xfrm>
          <a:prstGeom prst="straightConnector1">
            <a:avLst/>
          </a:prstGeom>
          <a:solidFill>
            <a:schemeClr val="accent1"/>
          </a:solidFill>
          <a:ln w="9525" cap="flat" cmpd="sng" algn="ctr">
            <a:solidFill>
              <a:schemeClr val="tx1"/>
            </a:solidFill>
            <a:prstDash val="solid"/>
            <a:round/>
            <a:headEnd type="none"/>
            <a:tailEnd type="arrow"/>
          </a:ln>
          <a:effectLst/>
        </p:spPr>
      </p:cxnSp>
      <p:cxnSp>
        <p:nvCxnSpPr>
          <p:cNvPr id="41" name="Straight Arrow Connector 40"/>
          <p:cNvCxnSpPr/>
          <p:nvPr/>
        </p:nvCxnSpPr>
        <p:spPr bwMode="auto">
          <a:xfrm>
            <a:off x="4441611" y="1485396"/>
            <a:ext cx="251460" cy="434340"/>
          </a:xfrm>
          <a:prstGeom prst="straightConnector1">
            <a:avLst/>
          </a:prstGeom>
          <a:solidFill>
            <a:schemeClr val="accent1"/>
          </a:solidFill>
          <a:ln w="9525" cap="flat" cmpd="sng" algn="ctr">
            <a:solidFill>
              <a:schemeClr val="tx1"/>
            </a:solidFill>
            <a:prstDash val="solid"/>
            <a:round/>
            <a:headEnd type="none"/>
            <a:tailEnd type="arrow"/>
          </a:ln>
          <a:effectLst/>
        </p:spPr>
      </p:cxnSp>
      <p:sp>
        <p:nvSpPr>
          <p:cNvPr id="44" name="Rectangle 43"/>
          <p:cNvSpPr/>
          <p:nvPr/>
        </p:nvSpPr>
        <p:spPr bwMode="auto">
          <a:xfrm>
            <a:off x="2664746" y="4157718"/>
            <a:ext cx="605513" cy="392415"/>
          </a:xfrm>
          <a:prstGeom prst="rect">
            <a:avLst/>
          </a:prstGeom>
          <a:solidFill>
            <a:schemeClr val="tx1">
              <a:lumMod val="50000"/>
              <a:lumOff val="50000"/>
            </a:schemeClr>
          </a:solidFill>
          <a:ln w="19050" cap="flat" cmpd="sng" algn="ctr">
            <a:solidFill>
              <a:schemeClr val="bg1"/>
            </a:solid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spAutoFit/>
          </a:bodyPr>
          <a:lstStyle/>
          <a:p>
            <a:pPr defTabSz="685800" eaLnBrk="0" hangingPunct="0">
              <a:spcBef>
                <a:spcPct val="20000"/>
              </a:spcBef>
            </a:pPr>
            <a:endParaRPr lang="en-US" sz="1650" i="1" dirty="0">
              <a:solidFill>
                <a:srgbClr val="000000"/>
              </a:solidFill>
              <a:latin typeface="Arial"/>
              <a:cs typeface="Arial"/>
            </a:endParaRPr>
          </a:p>
        </p:txBody>
      </p:sp>
      <p:sp>
        <p:nvSpPr>
          <p:cNvPr id="45" name="Rectangle 44"/>
          <p:cNvSpPr/>
          <p:nvPr/>
        </p:nvSpPr>
        <p:spPr bwMode="auto">
          <a:xfrm>
            <a:off x="3380231" y="4157718"/>
            <a:ext cx="605513" cy="392415"/>
          </a:xfrm>
          <a:prstGeom prst="rect">
            <a:avLst/>
          </a:prstGeom>
          <a:solidFill>
            <a:schemeClr val="tx1">
              <a:lumMod val="50000"/>
              <a:lumOff val="50000"/>
            </a:schemeClr>
          </a:solidFill>
          <a:ln w="19050" cap="flat" cmpd="sng" algn="ctr">
            <a:solidFill>
              <a:schemeClr val="bg1"/>
            </a:solid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spAutoFit/>
          </a:bodyPr>
          <a:lstStyle/>
          <a:p>
            <a:pPr defTabSz="685800" eaLnBrk="0" hangingPunct="0">
              <a:spcBef>
                <a:spcPct val="20000"/>
              </a:spcBef>
            </a:pPr>
            <a:endParaRPr lang="en-US" sz="1650" i="1" dirty="0">
              <a:solidFill>
                <a:srgbClr val="000000"/>
              </a:solidFill>
              <a:latin typeface="Arial"/>
              <a:cs typeface="Arial"/>
            </a:endParaRPr>
          </a:p>
        </p:txBody>
      </p:sp>
      <p:sp>
        <p:nvSpPr>
          <p:cNvPr id="46" name="Rectangle 45"/>
          <p:cNvSpPr/>
          <p:nvPr/>
        </p:nvSpPr>
        <p:spPr bwMode="auto">
          <a:xfrm>
            <a:off x="4095716" y="4154898"/>
            <a:ext cx="605513" cy="392415"/>
          </a:xfrm>
          <a:prstGeom prst="rect">
            <a:avLst/>
          </a:prstGeom>
          <a:solidFill>
            <a:schemeClr val="tx1">
              <a:lumMod val="50000"/>
              <a:lumOff val="50000"/>
            </a:schemeClr>
          </a:solidFill>
          <a:ln w="19050" cap="flat" cmpd="sng" algn="ctr">
            <a:solidFill>
              <a:schemeClr val="bg1"/>
            </a:solid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spAutoFit/>
          </a:bodyPr>
          <a:lstStyle/>
          <a:p>
            <a:pPr defTabSz="685800" eaLnBrk="0" hangingPunct="0">
              <a:spcBef>
                <a:spcPct val="20000"/>
              </a:spcBef>
            </a:pPr>
            <a:endParaRPr lang="en-US" sz="1650" i="1" dirty="0">
              <a:solidFill>
                <a:srgbClr val="000000"/>
              </a:solidFill>
              <a:latin typeface="Arial"/>
              <a:cs typeface="Arial"/>
            </a:endParaRPr>
          </a:p>
        </p:txBody>
      </p:sp>
      <p:sp>
        <p:nvSpPr>
          <p:cNvPr id="47" name="Rectangle 46"/>
          <p:cNvSpPr/>
          <p:nvPr/>
        </p:nvSpPr>
        <p:spPr bwMode="auto">
          <a:xfrm>
            <a:off x="3382411" y="3751052"/>
            <a:ext cx="605513" cy="392415"/>
          </a:xfrm>
          <a:prstGeom prst="rect">
            <a:avLst/>
          </a:prstGeom>
          <a:solidFill>
            <a:schemeClr val="tx1">
              <a:lumMod val="50000"/>
              <a:lumOff val="50000"/>
            </a:schemeClr>
          </a:solidFill>
          <a:ln w="19050" cap="flat" cmpd="sng" algn="ctr">
            <a:solidFill>
              <a:schemeClr val="bg1"/>
            </a:solid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spAutoFit/>
          </a:bodyPr>
          <a:lstStyle/>
          <a:p>
            <a:pPr defTabSz="685800" eaLnBrk="0" hangingPunct="0">
              <a:spcBef>
                <a:spcPct val="20000"/>
              </a:spcBef>
            </a:pPr>
            <a:endParaRPr lang="en-US" sz="1650" i="1" dirty="0">
              <a:solidFill>
                <a:srgbClr val="000000"/>
              </a:solidFill>
              <a:latin typeface="Arial"/>
              <a:cs typeface="Arial"/>
            </a:endParaRPr>
          </a:p>
        </p:txBody>
      </p:sp>
      <p:sp>
        <p:nvSpPr>
          <p:cNvPr id="48" name="Rectangle 47"/>
          <p:cNvSpPr/>
          <p:nvPr/>
        </p:nvSpPr>
        <p:spPr bwMode="auto">
          <a:xfrm>
            <a:off x="4097897" y="3751052"/>
            <a:ext cx="605513" cy="392415"/>
          </a:xfrm>
          <a:prstGeom prst="rect">
            <a:avLst/>
          </a:prstGeom>
          <a:solidFill>
            <a:schemeClr val="tx1">
              <a:lumMod val="50000"/>
              <a:lumOff val="50000"/>
            </a:schemeClr>
          </a:solidFill>
          <a:ln w="19050" cap="flat" cmpd="sng" algn="ctr">
            <a:solidFill>
              <a:schemeClr val="bg1"/>
            </a:solid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spAutoFit/>
          </a:bodyPr>
          <a:lstStyle/>
          <a:p>
            <a:pPr defTabSz="685800" eaLnBrk="0" hangingPunct="0">
              <a:spcBef>
                <a:spcPct val="20000"/>
              </a:spcBef>
            </a:pPr>
            <a:endParaRPr lang="en-US" sz="1650" i="1" dirty="0">
              <a:solidFill>
                <a:srgbClr val="000000"/>
              </a:solidFill>
              <a:latin typeface="Arial"/>
              <a:cs typeface="Arial"/>
            </a:endParaRPr>
          </a:p>
        </p:txBody>
      </p:sp>
      <p:sp>
        <p:nvSpPr>
          <p:cNvPr id="49" name="Rectangle 48"/>
          <p:cNvSpPr/>
          <p:nvPr/>
        </p:nvSpPr>
        <p:spPr bwMode="auto">
          <a:xfrm>
            <a:off x="4097897" y="3350026"/>
            <a:ext cx="605513" cy="392415"/>
          </a:xfrm>
          <a:prstGeom prst="rect">
            <a:avLst/>
          </a:prstGeom>
          <a:solidFill>
            <a:schemeClr val="tx1">
              <a:lumMod val="50000"/>
              <a:lumOff val="50000"/>
            </a:schemeClr>
          </a:solidFill>
          <a:ln w="19050" cap="flat" cmpd="sng" algn="ctr">
            <a:solidFill>
              <a:schemeClr val="bg1"/>
            </a:solid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spAutoFit/>
          </a:bodyPr>
          <a:lstStyle/>
          <a:p>
            <a:pPr defTabSz="685800" eaLnBrk="0" hangingPunct="0">
              <a:spcBef>
                <a:spcPct val="20000"/>
              </a:spcBef>
            </a:pPr>
            <a:endParaRPr lang="en-US" sz="1650" i="1" dirty="0">
              <a:solidFill>
                <a:srgbClr val="000000"/>
              </a:solidFill>
              <a:latin typeface="Arial"/>
              <a:cs typeface="Arial"/>
            </a:endParaRPr>
          </a:p>
        </p:txBody>
      </p:sp>
      <p:sp>
        <p:nvSpPr>
          <p:cNvPr id="50" name="Rectangle 49"/>
          <p:cNvSpPr/>
          <p:nvPr/>
        </p:nvSpPr>
        <p:spPr bwMode="auto">
          <a:xfrm>
            <a:off x="4826817" y="4159887"/>
            <a:ext cx="605513" cy="392415"/>
          </a:xfrm>
          <a:prstGeom prst="rect">
            <a:avLst/>
          </a:prstGeom>
          <a:solidFill>
            <a:schemeClr val="tx1">
              <a:lumMod val="50000"/>
              <a:lumOff val="50000"/>
            </a:schemeClr>
          </a:solidFill>
          <a:ln w="19050" cap="flat" cmpd="sng" algn="ctr">
            <a:solidFill>
              <a:schemeClr val="bg1"/>
            </a:solid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spAutoFit/>
          </a:bodyPr>
          <a:lstStyle/>
          <a:p>
            <a:pPr defTabSz="685800" eaLnBrk="0" hangingPunct="0">
              <a:spcBef>
                <a:spcPct val="20000"/>
              </a:spcBef>
            </a:pPr>
            <a:endParaRPr lang="en-US" sz="1650" i="1" dirty="0">
              <a:solidFill>
                <a:srgbClr val="000000"/>
              </a:solidFill>
              <a:latin typeface="Arial"/>
              <a:cs typeface="Arial"/>
            </a:endParaRPr>
          </a:p>
        </p:txBody>
      </p:sp>
      <p:sp>
        <p:nvSpPr>
          <p:cNvPr id="51" name="Rectangle 50"/>
          <p:cNvSpPr/>
          <p:nvPr/>
        </p:nvSpPr>
        <p:spPr bwMode="auto">
          <a:xfrm>
            <a:off x="4828997" y="3756041"/>
            <a:ext cx="605513" cy="392415"/>
          </a:xfrm>
          <a:prstGeom prst="rect">
            <a:avLst/>
          </a:prstGeom>
          <a:solidFill>
            <a:schemeClr val="tx1">
              <a:lumMod val="50000"/>
              <a:lumOff val="50000"/>
            </a:schemeClr>
          </a:solidFill>
          <a:ln w="19050" cap="flat" cmpd="sng" algn="ctr">
            <a:solidFill>
              <a:schemeClr val="bg1"/>
            </a:solid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spAutoFit/>
          </a:bodyPr>
          <a:lstStyle/>
          <a:p>
            <a:pPr defTabSz="685800" eaLnBrk="0" hangingPunct="0">
              <a:spcBef>
                <a:spcPct val="20000"/>
              </a:spcBef>
            </a:pPr>
            <a:endParaRPr lang="en-US" sz="1650" i="1" dirty="0">
              <a:solidFill>
                <a:srgbClr val="000000"/>
              </a:solidFill>
              <a:latin typeface="Arial"/>
              <a:cs typeface="Arial"/>
            </a:endParaRPr>
          </a:p>
        </p:txBody>
      </p:sp>
      <p:sp>
        <p:nvSpPr>
          <p:cNvPr id="52" name="Rectangle 51"/>
          <p:cNvSpPr/>
          <p:nvPr/>
        </p:nvSpPr>
        <p:spPr bwMode="auto">
          <a:xfrm>
            <a:off x="4828997" y="3355015"/>
            <a:ext cx="605513" cy="392415"/>
          </a:xfrm>
          <a:prstGeom prst="rect">
            <a:avLst/>
          </a:prstGeom>
          <a:solidFill>
            <a:schemeClr val="tx1">
              <a:lumMod val="50000"/>
              <a:lumOff val="50000"/>
            </a:schemeClr>
          </a:solidFill>
          <a:ln w="19050" cap="flat" cmpd="sng" algn="ctr">
            <a:solidFill>
              <a:schemeClr val="bg1"/>
            </a:solid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spAutoFit/>
          </a:bodyPr>
          <a:lstStyle/>
          <a:p>
            <a:pPr defTabSz="685800" eaLnBrk="0" hangingPunct="0">
              <a:spcBef>
                <a:spcPct val="20000"/>
              </a:spcBef>
            </a:pPr>
            <a:endParaRPr lang="en-US" sz="1650" i="1" dirty="0">
              <a:solidFill>
                <a:srgbClr val="000000"/>
              </a:solidFill>
              <a:latin typeface="Arial"/>
              <a:cs typeface="Arial"/>
            </a:endParaRPr>
          </a:p>
        </p:txBody>
      </p:sp>
      <p:sp>
        <p:nvSpPr>
          <p:cNvPr id="53" name="Rectangle 52"/>
          <p:cNvSpPr/>
          <p:nvPr/>
        </p:nvSpPr>
        <p:spPr bwMode="auto">
          <a:xfrm>
            <a:off x="4828997" y="2956808"/>
            <a:ext cx="605513" cy="392415"/>
          </a:xfrm>
          <a:prstGeom prst="rect">
            <a:avLst/>
          </a:prstGeom>
          <a:solidFill>
            <a:schemeClr val="tx1">
              <a:lumMod val="50000"/>
              <a:lumOff val="50000"/>
            </a:schemeClr>
          </a:solidFill>
          <a:ln w="19050" cap="flat" cmpd="sng" algn="ctr">
            <a:solidFill>
              <a:schemeClr val="bg1"/>
            </a:solid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spAutoFit/>
          </a:bodyPr>
          <a:lstStyle/>
          <a:p>
            <a:pPr defTabSz="685800" eaLnBrk="0" hangingPunct="0">
              <a:spcBef>
                <a:spcPct val="20000"/>
              </a:spcBef>
            </a:pPr>
            <a:endParaRPr lang="en-US" sz="1650" i="1" dirty="0">
              <a:solidFill>
                <a:srgbClr val="000000"/>
              </a:solidFill>
              <a:latin typeface="Arial"/>
              <a:cs typeface="Arial"/>
            </a:endParaRPr>
          </a:p>
        </p:txBody>
      </p:sp>
      <p:sp>
        <p:nvSpPr>
          <p:cNvPr id="54" name="Rectangle 53"/>
          <p:cNvSpPr/>
          <p:nvPr/>
        </p:nvSpPr>
        <p:spPr bwMode="auto">
          <a:xfrm>
            <a:off x="5565725" y="4157067"/>
            <a:ext cx="605513" cy="392415"/>
          </a:xfrm>
          <a:prstGeom prst="rect">
            <a:avLst/>
          </a:prstGeom>
          <a:solidFill>
            <a:schemeClr val="tx1">
              <a:lumMod val="50000"/>
              <a:lumOff val="50000"/>
            </a:schemeClr>
          </a:solidFill>
          <a:ln w="19050" cap="flat" cmpd="sng" algn="ctr">
            <a:solidFill>
              <a:schemeClr val="bg1"/>
            </a:solid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spAutoFit/>
          </a:bodyPr>
          <a:lstStyle/>
          <a:p>
            <a:pPr defTabSz="685800" eaLnBrk="0" hangingPunct="0">
              <a:spcBef>
                <a:spcPct val="20000"/>
              </a:spcBef>
            </a:pPr>
            <a:endParaRPr lang="en-US" sz="1650" i="1" dirty="0">
              <a:solidFill>
                <a:srgbClr val="000000"/>
              </a:solidFill>
              <a:latin typeface="Arial"/>
              <a:cs typeface="Arial"/>
            </a:endParaRPr>
          </a:p>
        </p:txBody>
      </p:sp>
      <p:sp>
        <p:nvSpPr>
          <p:cNvPr id="55" name="Rectangle 54"/>
          <p:cNvSpPr/>
          <p:nvPr/>
        </p:nvSpPr>
        <p:spPr bwMode="auto">
          <a:xfrm>
            <a:off x="5567905" y="3753221"/>
            <a:ext cx="605513" cy="392415"/>
          </a:xfrm>
          <a:prstGeom prst="rect">
            <a:avLst/>
          </a:prstGeom>
          <a:solidFill>
            <a:schemeClr val="tx1">
              <a:lumMod val="50000"/>
              <a:lumOff val="50000"/>
            </a:schemeClr>
          </a:solidFill>
          <a:ln w="19050" cap="flat" cmpd="sng" algn="ctr">
            <a:solidFill>
              <a:schemeClr val="bg1"/>
            </a:solid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spAutoFit/>
          </a:bodyPr>
          <a:lstStyle/>
          <a:p>
            <a:pPr defTabSz="685800" eaLnBrk="0" hangingPunct="0">
              <a:spcBef>
                <a:spcPct val="20000"/>
              </a:spcBef>
            </a:pPr>
            <a:endParaRPr lang="en-US" sz="1650" i="1" dirty="0">
              <a:solidFill>
                <a:srgbClr val="000000"/>
              </a:solidFill>
              <a:latin typeface="Arial"/>
              <a:cs typeface="Arial"/>
            </a:endParaRPr>
          </a:p>
        </p:txBody>
      </p:sp>
      <p:sp>
        <p:nvSpPr>
          <p:cNvPr id="56" name="Rectangle 55"/>
          <p:cNvSpPr/>
          <p:nvPr/>
        </p:nvSpPr>
        <p:spPr bwMode="auto">
          <a:xfrm>
            <a:off x="5567905" y="3352195"/>
            <a:ext cx="605513" cy="392415"/>
          </a:xfrm>
          <a:prstGeom prst="rect">
            <a:avLst/>
          </a:prstGeom>
          <a:solidFill>
            <a:schemeClr val="tx1">
              <a:lumMod val="50000"/>
              <a:lumOff val="50000"/>
            </a:schemeClr>
          </a:solidFill>
          <a:ln w="19050" cap="flat" cmpd="sng" algn="ctr">
            <a:solidFill>
              <a:schemeClr val="bg1"/>
            </a:solid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spAutoFit/>
          </a:bodyPr>
          <a:lstStyle/>
          <a:p>
            <a:pPr defTabSz="685800" eaLnBrk="0" hangingPunct="0">
              <a:spcBef>
                <a:spcPct val="20000"/>
              </a:spcBef>
            </a:pPr>
            <a:endParaRPr lang="en-US" sz="1650" i="1" dirty="0">
              <a:solidFill>
                <a:srgbClr val="000000"/>
              </a:solidFill>
              <a:latin typeface="Arial"/>
              <a:cs typeface="Arial"/>
            </a:endParaRPr>
          </a:p>
        </p:txBody>
      </p:sp>
      <p:sp>
        <p:nvSpPr>
          <p:cNvPr id="57" name="Rectangle 56"/>
          <p:cNvSpPr/>
          <p:nvPr/>
        </p:nvSpPr>
        <p:spPr bwMode="auto">
          <a:xfrm>
            <a:off x="5567904" y="2953988"/>
            <a:ext cx="605513" cy="392415"/>
          </a:xfrm>
          <a:prstGeom prst="rect">
            <a:avLst/>
          </a:prstGeom>
          <a:solidFill>
            <a:schemeClr val="tx1">
              <a:lumMod val="50000"/>
              <a:lumOff val="50000"/>
            </a:schemeClr>
          </a:solidFill>
          <a:ln w="19050" cap="flat" cmpd="sng" algn="ctr">
            <a:solidFill>
              <a:schemeClr val="bg1"/>
            </a:solid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spAutoFit/>
          </a:bodyPr>
          <a:lstStyle/>
          <a:p>
            <a:pPr defTabSz="685800" eaLnBrk="0" hangingPunct="0">
              <a:spcBef>
                <a:spcPct val="20000"/>
              </a:spcBef>
            </a:pPr>
            <a:endParaRPr lang="en-US" sz="1650" i="1" dirty="0">
              <a:solidFill>
                <a:srgbClr val="000000"/>
              </a:solidFill>
              <a:latin typeface="Arial"/>
              <a:cs typeface="Arial"/>
            </a:endParaRPr>
          </a:p>
        </p:txBody>
      </p:sp>
      <p:sp>
        <p:nvSpPr>
          <p:cNvPr id="58" name="Rectangle 57"/>
          <p:cNvSpPr/>
          <p:nvPr/>
        </p:nvSpPr>
        <p:spPr bwMode="auto">
          <a:xfrm>
            <a:off x="5565090" y="2552962"/>
            <a:ext cx="605513" cy="392415"/>
          </a:xfrm>
          <a:prstGeom prst="rect">
            <a:avLst/>
          </a:prstGeom>
          <a:solidFill>
            <a:schemeClr val="tx1">
              <a:lumMod val="50000"/>
              <a:lumOff val="50000"/>
            </a:schemeClr>
          </a:solidFill>
          <a:ln w="19050" cap="flat" cmpd="sng" algn="ctr">
            <a:solidFill>
              <a:schemeClr val="bg1"/>
            </a:solid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spAutoFit/>
          </a:bodyPr>
          <a:lstStyle/>
          <a:p>
            <a:pPr defTabSz="685800" eaLnBrk="0" hangingPunct="0">
              <a:spcBef>
                <a:spcPct val="20000"/>
              </a:spcBef>
            </a:pPr>
            <a:endParaRPr lang="en-US" sz="1650" i="1" dirty="0">
              <a:solidFill>
                <a:srgbClr val="000000"/>
              </a:solidFill>
              <a:latin typeface="Arial"/>
              <a:cs typeface="Arial"/>
            </a:endParaRPr>
          </a:p>
        </p:txBody>
      </p:sp>
      <p:sp>
        <p:nvSpPr>
          <p:cNvPr id="33" name="Freeform 32"/>
          <p:cNvSpPr/>
          <p:nvPr/>
        </p:nvSpPr>
        <p:spPr bwMode="auto">
          <a:xfrm>
            <a:off x="6185672" y="2895001"/>
            <a:ext cx="362237" cy="1674037"/>
          </a:xfrm>
          <a:custGeom>
            <a:avLst/>
            <a:gdLst>
              <a:gd name="connsiteX0" fmla="*/ 2048256 w 2048256"/>
              <a:gd name="connsiteY0" fmla="*/ 0 h 1975104"/>
              <a:gd name="connsiteX1" fmla="*/ 1362456 w 2048256"/>
              <a:gd name="connsiteY1" fmla="*/ 1307592 h 1975104"/>
              <a:gd name="connsiteX2" fmla="*/ 0 w 2048256"/>
              <a:gd name="connsiteY2" fmla="*/ 1975104 h 1975104"/>
              <a:gd name="connsiteX3" fmla="*/ 0 w 2048256"/>
              <a:gd name="connsiteY3" fmla="*/ 1975104 h 1975104"/>
              <a:gd name="connsiteX0" fmla="*/ 2048256 w 2048256"/>
              <a:gd name="connsiteY0" fmla="*/ 0 h 1975104"/>
              <a:gd name="connsiteX1" fmla="*/ 1362457 w 2048256"/>
              <a:gd name="connsiteY1" fmla="*/ 1205896 h 1975104"/>
              <a:gd name="connsiteX2" fmla="*/ 0 w 2048256"/>
              <a:gd name="connsiteY2" fmla="*/ 1975104 h 1975104"/>
              <a:gd name="connsiteX3" fmla="*/ 0 w 2048256"/>
              <a:gd name="connsiteY3" fmla="*/ 1975104 h 1975104"/>
            </a:gdLst>
            <a:ahLst/>
            <a:cxnLst>
              <a:cxn ang="0">
                <a:pos x="connsiteX0" y="connsiteY0"/>
              </a:cxn>
              <a:cxn ang="0">
                <a:pos x="connsiteX1" y="connsiteY1"/>
              </a:cxn>
              <a:cxn ang="0">
                <a:pos x="connsiteX2" y="connsiteY2"/>
              </a:cxn>
              <a:cxn ang="0">
                <a:pos x="connsiteX3" y="connsiteY3"/>
              </a:cxn>
            </a:cxnLst>
            <a:rect l="l" t="t" r="r" b="b"/>
            <a:pathLst>
              <a:path w="2048256" h="1975104">
                <a:moveTo>
                  <a:pt x="2048256" y="0"/>
                </a:moveTo>
                <a:cubicBezTo>
                  <a:pt x="1876044" y="489204"/>
                  <a:pt x="1703833" y="876712"/>
                  <a:pt x="1362457" y="1205896"/>
                </a:cubicBezTo>
                <a:cubicBezTo>
                  <a:pt x="1021081" y="1535080"/>
                  <a:pt x="227076" y="1846903"/>
                  <a:pt x="0" y="1975104"/>
                </a:cubicBezTo>
                <a:lnTo>
                  <a:pt x="0" y="1975104"/>
                </a:lnTo>
              </a:path>
            </a:pathLst>
          </a:custGeom>
          <a:noFill/>
          <a:ln w="66675" cmpd="sng">
            <a:solidFill>
              <a:schemeClr val="accent2"/>
            </a:solidFill>
            <a:round/>
            <a:headEnd/>
            <a:tailEnd/>
          </a:ln>
          <a:effectLst/>
        </p:spPr>
        <p:txBody>
          <a:bodyPr/>
          <a:lstStyle/>
          <a:p>
            <a:pPr defTabSz="685800"/>
            <a:endParaRPr lang="en-US" sz="1350" dirty="0">
              <a:ln w="76200" cmpd="sng">
                <a:solidFill>
                  <a:srgbClr val="000000"/>
                </a:solidFill>
              </a:ln>
              <a:solidFill>
                <a:srgbClr val="000000"/>
              </a:solidFill>
              <a:latin typeface="Arial"/>
              <a:cs typeface="Arial"/>
            </a:endParaRPr>
          </a:p>
        </p:txBody>
      </p:sp>
    </p:spTree>
    <p:extLst>
      <p:ext uri="{BB962C8B-B14F-4D97-AF65-F5344CB8AC3E}">
        <p14:creationId xmlns:p14="http://schemas.microsoft.com/office/powerpoint/2010/main" val="329114580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uild the Lean enterprise</a:t>
            </a:r>
          </a:p>
        </p:txBody>
      </p:sp>
    </p:spTree>
    <p:extLst>
      <p:ext uri="{BB962C8B-B14F-4D97-AF65-F5344CB8AC3E}">
        <p14:creationId xmlns:p14="http://schemas.microsoft.com/office/powerpoint/2010/main" val="175953369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55497" y="143802"/>
            <a:ext cx="8328661" cy="301752"/>
          </a:xfrm>
        </p:spPr>
        <p:txBody>
          <a:bodyPr/>
          <a:lstStyle/>
          <a:p>
            <a:r>
              <a:rPr lang="en-US" dirty="0"/>
              <a:t>Start with Essential SAFe</a:t>
            </a:r>
          </a:p>
        </p:txBody>
      </p:sp>
      <p:pic>
        <p:nvPicPr>
          <p:cNvPr id="6" name="Picture 5"/>
          <p:cNvPicPr>
            <a:picLocks noChangeAspect="1"/>
          </p:cNvPicPr>
          <p:nvPr/>
        </p:nvPicPr>
        <p:blipFill rotWithShape="1">
          <a:blip r:embed="rId3" cstate="print">
            <a:extLst>
              <a:ext uri="{28A0092B-C50C-407E-A947-70E740481C1C}">
                <a14:useLocalDpi xmlns:a14="http://schemas.microsoft.com/office/drawing/2010/main"/>
              </a:ext>
            </a:extLst>
          </a:blip>
          <a:srcRect t="9427"/>
          <a:stretch/>
        </p:blipFill>
        <p:spPr>
          <a:xfrm>
            <a:off x="934425" y="1499617"/>
            <a:ext cx="6551442" cy="2632662"/>
          </a:xfrm>
          <a:prstGeom prst="rect">
            <a:avLst/>
          </a:prstGeom>
        </p:spPr>
      </p:pic>
      <p:grpSp>
        <p:nvGrpSpPr>
          <p:cNvPr id="3" name="Group 2">
            <a:extLst>
              <a:ext uri="{FF2B5EF4-FFF2-40B4-BE49-F238E27FC236}">
                <a16:creationId xmlns:a16="http://schemas.microsoft.com/office/drawing/2014/main" id="{06714643-83F5-6842-B99B-350C788AF1EC}"/>
              </a:ext>
            </a:extLst>
          </p:cNvPr>
          <p:cNvGrpSpPr/>
          <p:nvPr/>
        </p:nvGrpSpPr>
        <p:grpSpPr>
          <a:xfrm>
            <a:off x="3074086" y="4013200"/>
            <a:ext cx="1337721" cy="689943"/>
            <a:chOff x="3074086" y="4013200"/>
            <a:chExt cx="1337721" cy="689943"/>
          </a:xfrm>
        </p:grpSpPr>
        <p:sp>
          <p:nvSpPr>
            <p:cNvPr id="18" name="Content Placeholder 2"/>
            <p:cNvSpPr txBox="1">
              <a:spLocks/>
            </p:cNvSpPr>
            <p:nvPr/>
          </p:nvSpPr>
          <p:spPr>
            <a:xfrm>
              <a:off x="3074086" y="4264299"/>
              <a:ext cx="1104883" cy="438844"/>
            </a:xfrm>
            <a:prstGeom prst="rect">
              <a:avLst/>
            </a:prstGeom>
          </p:spPr>
          <p:txBody>
            <a:bodyPr/>
            <a:lstStyle>
              <a:lvl1pPr marL="219075" indent="-219075" algn="l" rtl="0" eaLnBrk="1" fontAlgn="base" hangingPunct="1">
                <a:lnSpc>
                  <a:spcPct val="110000"/>
                </a:lnSpc>
                <a:spcBef>
                  <a:spcPts val="1200"/>
                </a:spcBef>
                <a:spcAft>
                  <a:spcPts val="500"/>
                </a:spcAft>
                <a:buClr>
                  <a:schemeClr val="bg1">
                    <a:lumMod val="65000"/>
                  </a:schemeClr>
                </a:buClr>
                <a:buSzPct val="100000"/>
                <a:buFont typeface="Webdings" pitchFamily="18" charset="2"/>
                <a:buChar char="4"/>
                <a:defRPr sz="2000">
                  <a:solidFill>
                    <a:schemeClr val="tx1"/>
                  </a:solidFill>
                  <a:latin typeface="+mn-lt"/>
                  <a:ea typeface="+mn-ea"/>
                  <a:cs typeface="+mn-cs"/>
                </a:defRPr>
              </a:lvl1pPr>
              <a:lvl2pPr marL="561975" indent="-209550" algn="l" rtl="0" eaLnBrk="1" fontAlgn="base" hangingPunct="1">
                <a:lnSpc>
                  <a:spcPct val="110000"/>
                </a:lnSpc>
                <a:spcBef>
                  <a:spcPts val="300"/>
                </a:spcBef>
                <a:spcAft>
                  <a:spcPts val="300"/>
                </a:spcAft>
                <a:buClr>
                  <a:schemeClr val="tx1">
                    <a:lumMod val="50000"/>
                    <a:lumOff val="50000"/>
                  </a:schemeClr>
                </a:buClr>
                <a:buSzPct val="117000"/>
                <a:buFont typeface="Lucida Grande"/>
                <a:buChar char="-"/>
                <a:defRPr sz="1800">
                  <a:solidFill>
                    <a:schemeClr val="tx1"/>
                  </a:solidFill>
                  <a:latin typeface="+mn-lt"/>
                  <a:cs typeface="+mn-cs"/>
                </a:defRPr>
              </a:lvl2pPr>
              <a:lvl3pPr marL="771525" indent="-171450" algn="l" rtl="0" eaLnBrk="1" fontAlgn="base" hangingPunct="1">
                <a:lnSpc>
                  <a:spcPct val="110000"/>
                </a:lnSpc>
                <a:spcBef>
                  <a:spcPts val="300"/>
                </a:spcBef>
                <a:spcAft>
                  <a:spcPts val="300"/>
                </a:spcAft>
                <a:buClr>
                  <a:schemeClr val="tx1">
                    <a:lumMod val="50000"/>
                    <a:lumOff val="50000"/>
                  </a:schemeClr>
                </a:buClr>
                <a:buSzPct val="110000"/>
                <a:buFont typeface="Lucida Grande"/>
                <a:buChar char="-"/>
                <a:defRPr lang="en-US" altLang="en-US" sz="1800" dirty="0" smtClean="0">
                  <a:solidFill>
                    <a:schemeClr val="tx1"/>
                  </a:solidFill>
                  <a:latin typeface="+mn-lt"/>
                  <a:cs typeface="+mn-cs"/>
                </a:defRPr>
              </a:lvl3pPr>
              <a:lvl4pPr marL="1071563" indent="-214313" algn="l" rtl="0" eaLnBrk="1" fontAlgn="base" hangingPunct="1">
                <a:lnSpc>
                  <a:spcPct val="110000"/>
                </a:lnSpc>
                <a:spcBef>
                  <a:spcPts val="225"/>
                </a:spcBef>
                <a:spcAft>
                  <a:spcPts val="225"/>
                </a:spcAft>
                <a:buClr>
                  <a:schemeClr val="tx1">
                    <a:lumMod val="75000"/>
                    <a:lumOff val="25000"/>
                  </a:schemeClr>
                </a:buClr>
                <a:buSzPct val="110000"/>
                <a:buFont typeface="Lucida Grande"/>
                <a:buChar char="-"/>
                <a:defRPr sz="1800" baseline="0">
                  <a:solidFill>
                    <a:schemeClr val="tx1"/>
                  </a:solidFill>
                  <a:latin typeface="+mn-lt"/>
                  <a:cs typeface="+mn-cs"/>
                </a:defRPr>
              </a:lvl4pPr>
              <a:lvl5pPr marL="1246585" indent="-170260" algn="l" rtl="0" eaLnBrk="1" fontAlgn="base" hangingPunct="1">
                <a:lnSpc>
                  <a:spcPct val="110000"/>
                </a:lnSpc>
                <a:spcBef>
                  <a:spcPts val="225"/>
                </a:spcBef>
                <a:spcAft>
                  <a:spcPts val="225"/>
                </a:spcAft>
                <a:buClr>
                  <a:schemeClr val="tx1">
                    <a:lumMod val="75000"/>
                    <a:lumOff val="25000"/>
                  </a:schemeClr>
                </a:buClr>
                <a:buSzPct val="110000"/>
                <a:buFont typeface="Arial Black" pitchFamily="34" charset="0"/>
                <a:buChar char="–"/>
                <a:defRPr sz="1800">
                  <a:solidFill>
                    <a:schemeClr val="tx1"/>
                  </a:solidFill>
                  <a:latin typeface="+mn-lt"/>
                  <a:cs typeface="+mn-cs"/>
                </a:defRPr>
              </a:lvl5pPr>
              <a:lvl6pPr marL="1541860" indent="-236935" algn="l" rtl="0" eaLnBrk="1" fontAlgn="base" hangingPunct="1">
                <a:spcBef>
                  <a:spcPct val="20000"/>
                </a:spcBef>
                <a:spcAft>
                  <a:spcPct val="0"/>
                </a:spcAft>
                <a:buClr>
                  <a:schemeClr val="folHlink"/>
                </a:buClr>
                <a:buSzPct val="80000"/>
                <a:buFont typeface="Wingdings" pitchFamily="2" charset="2"/>
                <a:buChar char="§"/>
                <a:defRPr sz="1500">
                  <a:solidFill>
                    <a:schemeClr val="tx1"/>
                  </a:solidFill>
                  <a:latin typeface="+mn-lt"/>
                  <a:cs typeface="+mn-cs"/>
                </a:defRPr>
              </a:lvl6pPr>
              <a:lvl7pPr marL="1884760" indent="-236935" algn="l" rtl="0" eaLnBrk="1" fontAlgn="base" hangingPunct="1">
                <a:spcBef>
                  <a:spcPct val="20000"/>
                </a:spcBef>
                <a:spcAft>
                  <a:spcPct val="0"/>
                </a:spcAft>
                <a:buClr>
                  <a:schemeClr val="folHlink"/>
                </a:buClr>
                <a:buSzPct val="80000"/>
                <a:buFont typeface="Wingdings" pitchFamily="2" charset="2"/>
                <a:buChar char="§"/>
                <a:defRPr sz="1500">
                  <a:solidFill>
                    <a:schemeClr val="tx1"/>
                  </a:solidFill>
                  <a:latin typeface="+mn-lt"/>
                  <a:cs typeface="+mn-cs"/>
                </a:defRPr>
              </a:lvl7pPr>
              <a:lvl8pPr marL="2227660" indent="-236935" algn="l" rtl="0" eaLnBrk="1" fontAlgn="base" hangingPunct="1">
                <a:spcBef>
                  <a:spcPct val="20000"/>
                </a:spcBef>
                <a:spcAft>
                  <a:spcPct val="0"/>
                </a:spcAft>
                <a:buClr>
                  <a:schemeClr val="folHlink"/>
                </a:buClr>
                <a:buSzPct val="80000"/>
                <a:buFont typeface="Wingdings" pitchFamily="2" charset="2"/>
                <a:buChar char="§"/>
                <a:defRPr sz="1500">
                  <a:solidFill>
                    <a:schemeClr val="tx1"/>
                  </a:solidFill>
                  <a:latin typeface="+mn-lt"/>
                  <a:cs typeface="+mn-cs"/>
                </a:defRPr>
              </a:lvl8pPr>
              <a:lvl9pPr marL="2570560" indent="-236935" algn="l" rtl="0" eaLnBrk="1" fontAlgn="base" hangingPunct="1">
                <a:spcBef>
                  <a:spcPct val="20000"/>
                </a:spcBef>
                <a:spcAft>
                  <a:spcPct val="0"/>
                </a:spcAft>
                <a:buClr>
                  <a:schemeClr val="folHlink"/>
                </a:buClr>
                <a:buSzPct val="80000"/>
                <a:buFont typeface="Wingdings" pitchFamily="2" charset="2"/>
                <a:buChar char="§"/>
                <a:defRPr sz="1500">
                  <a:solidFill>
                    <a:schemeClr val="tx1"/>
                  </a:solidFill>
                  <a:latin typeface="+mn-lt"/>
                  <a:cs typeface="+mn-cs"/>
                </a:defRPr>
              </a:lvl9pPr>
            </a:lstStyle>
            <a:p>
              <a:pPr marL="0" indent="0" algn="r">
                <a:spcBef>
                  <a:spcPts val="1000"/>
                </a:spcBef>
                <a:spcAft>
                  <a:spcPts val="1000"/>
                </a:spcAft>
                <a:buFont typeface="Webdings" pitchFamily="18" charset="2"/>
                <a:buNone/>
              </a:pPr>
              <a:r>
                <a:rPr lang="en-US" sz="1100" b="1" kern="0" dirty="0"/>
                <a:t>Lean-Agile Principles</a:t>
              </a:r>
            </a:p>
          </p:txBody>
        </p:sp>
        <p:cxnSp>
          <p:nvCxnSpPr>
            <p:cNvPr id="43" name="Straight Connector 42"/>
            <p:cNvCxnSpPr>
              <a:endCxn id="46" idx="0"/>
            </p:cNvCxnSpPr>
            <p:nvPr/>
          </p:nvCxnSpPr>
          <p:spPr bwMode="auto">
            <a:xfrm flipH="1">
              <a:off x="4274647" y="4013200"/>
              <a:ext cx="0" cy="360773"/>
            </a:xfrm>
            <a:prstGeom prst="line">
              <a:avLst/>
            </a:prstGeom>
            <a:solidFill>
              <a:schemeClr val="accent1"/>
            </a:solidFill>
            <a:ln w="19050" cap="flat" cmpd="sng" algn="ctr">
              <a:solidFill>
                <a:schemeClr val="accent2"/>
              </a:solidFill>
              <a:prstDash val="solid"/>
              <a:round/>
              <a:headEnd type="oval" w="med" len="med"/>
              <a:tailEnd type="none" w="med" len="med"/>
            </a:ln>
            <a:effectLst/>
          </p:spPr>
        </p:cxnSp>
        <p:sp>
          <p:nvSpPr>
            <p:cNvPr id="46" name="Oval 45"/>
            <p:cNvSpPr/>
            <p:nvPr/>
          </p:nvSpPr>
          <p:spPr bwMode="auto">
            <a:xfrm>
              <a:off x="4137487" y="4373973"/>
              <a:ext cx="274320" cy="274320"/>
            </a:xfrm>
            <a:prstGeom prst="ellipse">
              <a:avLst/>
            </a:prstGeom>
            <a:solidFill>
              <a:schemeClr val="accent2"/>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eaLnBrk="0" hangingPunct="0">
                <a:spcBef>
                  <a:spcPct val="20000"/>
                </a:spcBef>
              </a:pPr>
              <a:r>
                <a:rPr lang="en-US" sz="1200" dirty="0">
                  <a:solidFill>
                    <a:schemeClr val="bg1"/>
                  </a:solidFill>
                </a:rPr>
                <a:t>1</a:t>
              </a:r>
            </a:p>
          </p:txBody>
        </p:sp>
      </p:grpSp>
      <p:grpSp>
        <p:nvGrpSpPr>
          <p:cNvPr id="8" name="Group 7">
            <a:extLst>
              <a:ext uri="{FF2B5EF4-FFF2-40B4-BE49-F238E27FC236}">
                <a16:creationId xmlns:a16="http://schemas.microsoft.com/office/drawing/2014/main" id="{2C599286-8A44-8946-9A54-C6BB30C41FA0}"/>
              </a:ext>
            </a:extLst>
          </p:cNvPr>
          <p:cNvGrpSpPr/>
          <p:nvPr/>
        </p:nvGrpSpPr>
        <p:grpSpPr>
          <a:xfrm>
            <a:off x="134805" y="990713"/>
            <a:ext cx="3834630" cy="2147261"/>
            <a:chOff x="134805" y="990713"/>
            <a:chExt cx="3834630" cy="2147261"/>
          </a:xfrm>
        </p:grpSpPr>
        <p:sp>
          <p:nvSpPr>
            <p:cNvPr id="9" name="Oval 8">
              <a:extLst>
                <a:ext uri="{FF2B5EF4-FFF2-40B4-BE49-F238E27FC236}">
                  <a16:creationId xmlns:a16="http://schemas.microsoft.com/office/drawing/2014/main" id="{34FF58C2-033E-574F-8484-12DE4DD1CBA3}"/>
                </a:ext>
              </a:extLst>
            </p:cNvPr>
            <p:cNvSpPr/>
            <p:nvPr/>
          </p:nvSpPr>
          <p:spPr bwMode="auto">
            <a:xfrm>
              <a:off x="1807009" y="1073502"/>
              <a:ext cx="274320" cy="274320"/>
            </a:xfrm>
            <a:prstGeom prst="ellipse">
              <a:avLst/>
            </a:prstGeom>
            <a:solidFill>
              <a:schemeClr val="accent2"/>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eaLnBrk="0" hangingPunct="0">
                <a:spcBef>
                  <a:spcPct val="20000"/>
                </a:spcBef>
              </a:pPr>
              <a:r>
                <a:rPr lang="en-US" sz="1600" dirty="0">
                  <a:solidFill>
                    <a:schemeClr val="bg1"/>
                  </a:solidFill>
                </a:rPr>
                <a:t>2</a:t>
              </a:r>
            </a:p>
          </p:txBody>
        </p:sp>
        <p:sp>
          <p:nvSpPr>
            <p:cNvPr id="10" name="Content Placeholder 2">
              <a:extLst>
                <a:ext uri="{FF2B5EF4-FFF2-40B4-BE49-F238E27FC236}">
                  <a16:creationId xmlns:a16="http://schemas.microsoft.com/office/drawing/2014/main" id="{D496176B-996D-2D48-B91A-5A4AA8DEDC33}"/>
                </a:ext>
              </a:extLst>
            </p:cNvPr>
            <p:cNvSpPr txBox="1">
              <a:spLocks/>
            </p:cNvSpPr>
            <p:nvPr/>
          </p:nvSpPr>
          <p:spPr>
            <a:xfrm>
              <a:off x="134805" y="990713"/>
              <a:ext cx="1599239" cy="330897"/>
            </a:xfrm>
            <a:prstGeom prst="rect">
              <a:avLst/>
            </a:prstGeom>
          </p:spPr>
          <p:txBody>
            <a:bodyPr/>
            <a:lstStyle>
              <a:lvl1pPr marL="219075" indent="-219075" algn="l" rtl="0" eaLnBrk="1" fontAlgn="base" hangingPunct="1">
                <a:lnSpc>
                  <a:spcPct val="110000"/>
                </a:lnSpc>
                <a:spcBef>
                  <a:spcPts val="1200"/>
                </a:spcBef>
                <a:spcAft>
                  <a:spcPts val="500"/>
                </a:spcAft>
                <a:buClr>
                  <a:schemeClr val="bg1">
                    <a:lumMod val="65000"/>
                  </a:schemeClr>
                </a:buClr>
                <a:buSzPct val="100000"/>
                <a:buFont typeface="Webdings" pitchFamily="18" charset="2"/>
                <a:buChar char="4"/>
                <a:defRPr sz="2000">
                  <a:solidFill>
                    <a:schemeClr val="tx1"/>
                  </a:solidFill>
                  <a:latin typeface="+mn-lt"/>
                  <a:ea typeface="+mn-ea"/>
                  <a:cs typeface="+mn-cs"/>
                </a:defRPr>
              </a:lvl1pPr>
              <a:lvl2pPr marL="561975" indent="-209550" algn="l" rtl="0" eaLnBrk="1" fontAlgn="base" hangingPunct="1">
                <a:lnSpc>
                  <a:spcPct val="110000"/>
                </a:lnSpc>
                <a:spcBef>
                  <a:spcPts val="300"/>
                </a:spcBef>
                <a:spcAft>
                  <a:spcPts val="300"/>
                </a:spcAft>
                <a:buClr>
                  <a:schemeClr val="tx1">
                    <a:lumMod val="50000"/>
                    <a:lumOff val="50000"/>
                  </a:schemeClr>
                </a:buClr>
                <a:buSzPct val="117000"/>
                <a:buFont typeface="Lucida Grande"/>
                <a:buChar char="-"/>
                <a:defRPr sz="1800">
                  <a:solidFill>
                    <a:schemeClr val="tx1"/>
                  </a:solidFill>
                  <a:latin typeface="+mn-lt"/>
                  <a:cs typeface="+mn-cs"/>
                </a:defRPr>
              </a:lvl2pPr>
              <a:lvl3pPr marL="771525" indent="-171450" algn="l" rtl="0" eaLnBrk="1" fontAlgn="base" hangingPunct="1">
                <a:lnSpc>
                  <a:spcPct val="110000"/>
                </a:lnSpc>
                <a:spcBef>
                  <a:spcPts val="300"/>
                </a:spcBef>
                <a:spcAft>
                  <a:spcPts val="300"/>
                </a:spcAft>
                <a:buClr>
                  <a:schemeClr val="tx1">
                    <a:lumMod val="50000"/>
                    <a:lumOff val="50000"/>
                  </a:schemeClr>
                </a:buClr>
                <a:buSzPct val="110000"/>
                <a:buFont typeface="Lucida Grande"/>
                <a:buChar char="-"/>
                <a:defRPr lang="en-US" altLang="en-US" sz="1800" dirty="0" smtClean="0">
                  <a:solidFill>
                    <a:schemeClr val="tx1"/>
                  </a:solidFill>
                  <a:latin typeface="+mn-lt"/>
                  <a:cs typeface="+mn-cs"/>
                </a:defRPr>
              </a:lvl3pPr>
              <a:lvl4pPr marL="1071563" indent="-214313" algn="l" rtl="0" eaLnBrk="1" fontAlgn="base" hangingPunct="1">
                <a:lnSpc>
                  <a:spcPct val="110000"/>
                </a:lnSpc>
                <a:spcBef>
                  <a:spcPts val="225"/>
                </a:spcBef>
                <a:spcAft>
                  <a:spcPts val="225"/>
                </a:spcAft>
                <a:buClr>
                  <a:schemeClr val="tx1">
                    <a:lumMod val="75000"/>
                    <a:lumOff val="25000"/>
                  </a:schemeClr>
                </a:buClr>
                <a:buSzPct val="110000"/>
                <a:buFont typeface="Lucida Grande"/>
                <a:buChar char="-"/>
                <a:defRPr sz="1800" baseline="0">
                  <a:solidFill>
                    <a:schemeClr val="tx1"/>
                  </a:solidFill>
                  <a:latin typeface="+mn-lt"/>
                  <a:cs typeface="+mn-cs"/>
                </a:defRPr>
              </a:lvl4pPr>
              <a:lvl5pPr marL="1246585" indent="-170260" algn="l" rtl="0" eaLnBrk="1" fontAlgn="base" hangingPunct="1">
                <a:lnSpc>
                  <a:spcPct val="110000"/>
                </a:lnSpc>
                <a:spcBef>
                  <a:spcPts val="225"/>
                </a:spcBef>
                <a:spcAft>
                  <a:spcPts val="225"/>
                </a:spcAft>
                <a:buClr>
                  <a:schemeClr val="tx1">
                    <a:lumMod val="75000"/>
                    <a:lumOff val="25000"/>
                  </a:schemeClr>
                </a:buClr>
                <a:buSzPct val="110000"/>
                <a:buFont typeface="Arial Black" pitchFamily="34" charset="0"/>
                <a:buChar char="–"/>
                <a:defRPr sz="1800">
                  <a:solidFill>
                    <a:schemeClr val="tx1"/>
                  </a:solidFill>
                  <a:latin typeface="+mn-lt"/>
                  <a:cs typeface="+mn-cs"/>
                </a:defRPr>
              </a:lvl5pPr>
              <a:lvl6pPr marL="1541860" indent="-236935" algn="l" rtl="0" eaLnBrk="1" fontAlgn="base" hangingPunct="1">
                <a:spcBef>
                  <a:spcPct val="20000"/>
                </a:spcBef>
                <a:spcAft>
                  <a:spcPct val="0"/>
                </a:spcAft>
                <a:buClr>
                  <a:schemeClr val="folHlink"/>
                </a:buClr>
                <a:buSzPct val="80000"/>
                <a:buFont typeface="Wingdings" pitchFamily="2" charset="2"/>
                <a:buChar char="§"/>
                <a:defRPr sz="1500">
                  <a:solidFill>
                    <a:schemeClr val="tx1"/>
                  </a:solidFill>
                  <a:latin typeface="+mn-lt"/>
                  <a:cs typeface="+mn-cs"/>
                </a:defRPr>
              </a:lvl6pPr>
              <a:lvl7pPr marL="1884760" indent="-236935" algn="l" rtl="0" eaLnBrk="1" fontAlgn="base" hangingPunct="1">
                <a:spcBef>
                  <a:spcPct val="20000"/>
                </a:spcBef>
                <a:spcAft>
                  <a:spcPct val="0"/>
                </a:spcAft>
                <a:buClr>
                  <a:schemeClr val="folHlink"/>
                </a:buClr>
                <a:buSzPct val="80000"/>
                <a:buFont typeface="Wingdings" pitchFamily="2" charset="2"/>
                <a:buChar char="§"/>
                <a:defRPr sz="1500">
                  <a:solidFill>
                    <a:schemeClr val="tx1"/>
                  </a:solidFill>
                  <a:latin typeface="+mn-lt"/>
                  <a:cs typeface="+mn-cs"/>
                </a:defRPr>
              </a:lvl7pPr>
              <a:lvl8pPr marL="2227660" indent="-236935" algn="l" rtl="0" eaLnBrk="1" fontAlgn="base" hangingPunct="1">
                <a:spcBef>
                  <a:spcPct val="20000"/>
                </a:spcBef>
                <a:spcAft>
                  <a:spcPct val="0"/>
                </a:spcAft>
                <a:buClr>
                  <a:schemeClr val="folHlink"/>
                </a:buClr>
                <a:buSzPct val="80000"/>
                <a:buFont typeface="Wingdings" pitchFamily="2" charset="2"/>
                <a:buChar char="§"/>
                <a:defRPr sz="1500">
                  <a:solidFill>
                    <a:schemeClr val="tx1"/>
                  </a:solidFill>
                  <a:latin typeface="+mn-lt"/>
                  <a:cs typeface="+mn-cs"/>
                </a:defRPr>
              </a:lvl8pPr>
              <a:lvl9pPr marL="2570560" indent="-236935" algn="l" rtl="0" eaLnBrk="1" fontAlgn="base" hangingPunct="1">
                <a:spcBef>
                  <a:spcPct val="20000"/>
                </a:spcBef>
                <a:spcAft>
                  <a:spcPct val="0"/>
                </a:spcAft>
                <a:buClr>
                  <a:schemeClr val="folHlink"/>
                </a:buClr>
                <a:buSzPct val="80000"/>
                <a:buFont typeface="Wingdings" pitchFamily="2" charset="2"/>
                <a:buChar char="§"/>
                <a:defRPr sz="1500">
                  <a:solidFill>
                    <a:schemeClr val="tx1"/>
                  </a:solidFill>
                  <a:latin typeface="+mn-lt"/>
                  <a:cs typeface="+mn-cs"/>
                </a:defRPr>
              </a:lvl9pPr>
            </a:lstStyle>
            <a:p>
              <a:pPr marL="0" indent="0" algn="r">
                <a:spcBef>
                  <a:spcPts val="1000"/>
                </a:spcBef>
                <a:spcAft>
                  <a:spcPts val="1000"/>
                </a:spcAft>
                <a:buFont typeface="Webdings" pitchFamily="18" charset="2"/>
                <a:buNone/>
              </a:pPr>
              <a:r>
                <a:rPr lang="en-US" sz="1100" b="1" kern="0" dirty="0"/>
                <a:t>Real Agile Teams and Trains</a:t>
              </a:r>
            </a:p>
          </p:txBody>
        </p:sp>
        <p:cxnSp>
          <p:nvCxnSpPr>
            <p:cNvPr id="11" name="Straight Connector 10">
              <a:extLst>
                <a:ext uri="{FF2B5EF4-FFF2-40B4-BE49-F238E27FC236}">
                  <a16:creationId xmlns:a16="http://schemas.microsoft.com/office/drawing/2014/main" id="{D66FF017-ED35-A94B-9D64-2FC9C47B74A2}"/>
                </a:ext>
              </a:extLst>
            </p:cNvPr>
            <p:cNvCxnSpPr/>
            <p:nvPr/>
          </p:nvCxnSpPr>
          <p:spPr bwMode="auto">
            <a:xfrm flipH="1" flipV="1">
              <a:off x="2044458" y="1211184"/>
              <a:ext cx="1924977" cy="682603"/>
            </a:xfrm>
            <a:prstGeom prst="line">
              <a:avLst/>
            </a:prstGeom>
            <a:solidFill>
              <a:schemeClr val="accent1"/>
            </a:solidFill>
            <a:ln w="19050" cap="flat" cmpd="sng" algn="ctr">
              <a:solidFill>
                <a:schemeClr val="accent2"/>
              </a:solidFill>
              <a:prstDash val="solid"/>
              <a:round/>
              <a:headEnd type="oval" w="med" len="med"/>
              <a:tailEnd type="none" w="med" len="med"/>
            </a:ln>
            <a:effectLst/>
          </p:spPr>
        </p:cxnSp>
        <p:cxnSp>
          <p:nvCxnSpPr>
            <p:cNvPr id="12" name="Straight Connector 11">
              <a:extLst>
                <a:ext uri="{FF2B5EF4-FFF2-40B4-BE49-F238E27FC236}">
                  <a16:creationId xmlns:a16="http://schemas.microsoft.com/office/drawing/2014/main" id="{E4ABE1DC-377C-2241-9175-E4326ADC485D}"/>
                </a:ext>
              </a:extLst>
            </p:cNvPr>
            <p:cNvCxnSpPr>
              <a:endCxn id="9" idx="4"/>
            </p:cNvCxnSpPr>
            <p:nvPr/>
          </p:nvCxnSpPr>
          <p:spPr bwMode="auto">
            <a:xfrm flipH="1" flipV="1">
              <a:off x="1944169" y="1347822"/>
              <a:ext cx="127454" cy="1790152"/>
            </a:xfrm>
            <a:prstGeom prst="line">
              <a:avLst/>
            </a:prstGeom>
            <a:solidFill>
              <a:schemeClr val="accent1"/>
            </a:solidFill>
            <a:ln w="19050" cap="flat" cmpd="sng" algn="ctr">
              <a:solidFill>
                <a:schemeClr val="accent2"/>
              </a:solidFill>
              <a:prstDash val="solid"/>
              <a:round/>
              <a:headEnd type="oval" w="med" len="med"/>
              <a:tailEnd type="none" w="med" len="med"/>
            </a:ln>
            <a:effectLst/>
          </p:spPr>
        </p:cxnSp>
      </p:grpSp>
      <p:grpSp>
        <p:nvGrpSpPr>
          <p:cNvPr id="13" name="Group 12">
            <a:extLst>
              <a:ext uri="{FF2B5EF4-FFF2-40B4-BE49-F238E27FC236}">
                <a16:creationId xmlns:a16="http://schemas.microsoft.com/office/drawing/2014/main" id="{E9966953-1822-044A-AC22-CAB483AF57B0}"/>
              </a:ext>
            </a:extLst>
          </p:cNvPr>
          <p:cNvGrpSpPr/>
          <p:nvPr/>
        </p:nvGrpSpPr>
        <p:grpSpPr>
          <a:xfrm>
            <a:off x="4690017" y="964731"/>
            <a:ext cx="1693209" cy="1615910"/>
            <a:chOff x="4690017" y="964731"/>
            <a:chExt cx="1693209" cy="1615910"/>
          </a:xfrm>
        </p:grpSpPr>
        <p:sp>
          <p:nvSpPr>
            <p:cNvPr id="14" name="Oval 13">
              <a:extLst>
                <a:ext uri="{FF2B5EF4-FFF2-40B4-BE49-F238E27FC236}">
                  <a16:creationId xmlns:a16="http://schemas.microsoft.com/office/drawing/2014/main" id="{A02F0193-D1A2-9742-9799-AF337A0B0EFC}"/>
                </a:ext>
              </a:extLst>
            </p:cNvPr>
            <p:cNvSpPr/>
            <p:nvPr/>
          </p:nvSpPr>
          <p:spPr bwMode="auto">
            <a:xfrm>
              <a:off x="4834976" y="1066344"/>
              <a:ext cx="274320" cy="274320"/>
            </a:xfrm>
            <a:prstGeom prst="ellipse">
              <a:avLst/>
            </a:prstGeom>
            <a:solidFill>
              <a:schemeClr val="accent2"/>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eaLnBrk="0" hangingPunct="0">
                <a:spcBef>
                  <a:spcPct val="20000"/>
                </a:spcBef>
              </a:pPr>
              <a:r>
                <a:rPr lang="en-US" sz="1600" dirty="0">
                  <a:solidFill>
                    <a:schemeClr val="bg1"/>
                  </a:solidFill>
                </a:rPr>
                <a:t>3</a:t>
              </a:r>
            </a:p>
          </p:txBody>
        </p:sp>
        <p:sp>
          <p:nvSpPr>
            <p:cNvPr id="15" name="Content Placeholder 2">
              <a:extLst>
                <a:ext uri="{FF2B5EF4-FFF2-40B4-BE49-F238E27FC236}">
                  <a16:creationId xmlns:a16="http://schemas.microsoft.com/office/drawing/2014/main" id="{C280342E-BBCD-7E4F-BB70-284F9CD56023}"/>
                </a:ext>
              </a:extLst>
            </p:cNvPr>
            <p:cNvSpPr txBox="1">
              <a:spLocks/>
            </p:cNvSpPr>
            <p:nvPr/>
          </p:nvSpPr>
          <p:spPr>
            <a:xfrm>
              <a:off x="5109296" y="964731"/>
              <a:ext cx="1273930" cy="417712"/>
            </a:xfrm>
            <a:prstGeom prst="rect">
              <a:avLst/>
            </a:prstGeom>
          </p:spPr>
          <p:txBody>
            <a:bodyPr/>
            <a:lstStyle>
              <a:lvl1pPr marL="219075" indent="-219075" algn="l" rtl="0" eaLnBrk="1" fontAlgn="base" hangingPunct="1">
                <a:lnSpc>
                  <a:spcPct val="110000"/>
                </a:lnSpc>
                <a:spcBef>
                  <a:spcPts val="1200"/>
                </a:spcBef>
                <a:spcAft>
                  <a:spcPts val="500"/>
                </a:spcAft>
                <a:buClr>
                  <a:schemeClr val="bg1">
                    <a:lumMod val="65000"/>
                  </a:schemeClr>
                </a:buClr>
                <a:buSzPct val="100000"/>
                <a:buFont typeface="Webdings" pitchFamily="18" charset="2"/>
                <a:buChar char="4"/>
                <a:defRPr sz="2000">
                  <a:solidFill>
                    <a:schemeClr val="tx1"/>
                  </a:solidFill>
                  <a:latin typeface="+mn-lt"/>
                  <a:ea typeface="+mn-ea"/>
                  <a:cs typeface="+mn-cs"/>
                </a:defRPr>
              </a:lvl1pPr>
              <a:lvl2pPr marL="561975" indent="-209550" algn="l" rtl="0" eaLnBrk="1" fontAlgn="base" hangingPunct="1">
                <a:lnSpc>
                  <a:spcPct val="110000"/>
                </a:lnSpc>
                <a:spcBef>
                  <a:spcPts val="300"/>
                </a:spcBef>
                <a:spcAft>
                  <a:spcPts val="300"/>
                </a:spcAft>
                <a:buClr>
                  <a:schemeClr val="tx1">
                    <a:lumMod val="50000"/>
                    <a:lumOff val="50000"/>
                  </a:schemeClr>
                </a:buClr>
                <a:buSzPct val="117000"/>
                <a:buFont typeface="Lucida Grande"/>
                <a:buChar char="-"/>
                <a:defRPr sz="1800">
                  <a:solidFill>
                    <a:schemeClr val="tx1"/>
                  </a:solidFill>
                  <a:latin typeface="+mn-lt"/>
                  <a:cs typeface="+mn-cs"/>
                </a:defRPr>
              </a:lvl2pPr>
              <a:lvl3pPr marL="771525" indent="-171450" algn="l" rtl="0" eaLnBrk="1" fontAlgn="base" hangingPunct="1">
                <a:lnSpc>
                  <a:spcPct val="110000"/>
                </a:lnSpc>
                <a:spcBef>
                  <a:spcPts val="300"/>
                </a:spcBef>
                <a:spcAft>
                  <a:spcPts val="300"/>
                </a:spcAft>
                <a:buClr>
                  <a:schemeClr val="tx1">
                    <a:lumMod val="50000"/>
                    <a:lumOff val="50000"/>
                  </a:schemeClr>
                </a:buClr>
                <a:buSzPct val="110000"/>
                <a:buFont typeface="Lucida Grande"/>
                <a:buChar char="-"/>
                <a:defRPr lang="en-US" altLang="en-US" sz="1800" dirty="0" smtClean="0">
                  <a:solidFill>
                    <a:schemeClr val="tx1"/>
                  </a:solidFill>
                  <a:latin typeface="+mn-lt"/>
                  <a:cs typeface="+mn-cs"/>
                </a:defRPr>
              </a:lvl3pPr>
              <a:lvl4pPr marL="1071563" indent="-214313" algn="l" rtl="0" eaLnBrk="1" fontAlgn="base" hangingPunct="1">
                <a:lnSpc>
                  <a:spcPct val="110000"/>
                </a:lnSpc>
                <a:spcBef>
                  <a:spcPts val="225"/>
                </a:spcBef>
                <a:spcAft>
                  <a:spcPts val="225"/>
                </a:spcAft>
                <a:buClr>
                  <a:schemeClr val="tx1">
                    <a:lumMod val="75000"/>
                    <a:lumOff val="25000"/>
                  </a:schemeClr>
                </a:buClr>
                <a:buSzPct val="110000"/>
                <a:buFont typeface="Lucida Grande"/>
                <a:buChar char="-"/>
                <a:defRPr sz="1800" baseline="0">
                  <a:solidFill>
                    <a:schemeClr val="tx1"/>
                  </a:solidFill>
                  <a:latin typeface="+mn-lt"/>
                  <a:cs typeface="+mn-cs"/>
                </a:defRPr>
              </a:lvl4pPr>
              <a:lvl5pPr marL="1246585" indent="-170260" algn="l" rtl="0" eaLnBrk="1" fontAlgn="base" hangingPunct="1">
                <a:lnSpc>
                  <a:spcPct val="110000"/>
                </a:lnSpc>
                <a:spcBef>
                  <a:spcPts val="225"/>
                </a:spcBef>
                <a:spcAft>
                  <a:spcPts val="225"/>
                </a:spcAft>
                <a:buClr>
                  <a:schemeClr val="tx1">
                    <a:lumMod val="75000"/>
                    <a:lumOff val="25000"/>
                  </a:schemeClr>
                </a:buClr>
                <a:buSzPct val="110000"/>
                <a:buFont typeface="Arial Black" pitchFamily="34" charset="0"/>
                <a:buChar char="–"/>
                <a:defRPr sz="1800">
                  <a:solidFill>
                    <a:schemeClr val="tx1"/>
                  </a:solidFill>
                  <a:latin typeface="+mn-lt"/>
                  <a:cs typeface="+mn-cs"/>
                </a:defRPr>
              </a:lvl5pPr>
              <a:lvl6pPr marL="1541860" indent="-236935" algn="l" rtl="0" eaLnBrk="1" fontAlgn="base" hangingPunct="1">
                <a:spcBef>
                  <a:spcPct val="20000"/>
                </a:spcBef>
                <a:spcAft>
                  <a:spcPct val="0"/>
                </a:spcAft>
                <a:buClr>
                  <a:schemeClr val="folHlink"/>
                </a:buClr>
                <a:buSzPct val="80000"/>
                <a:buFont typeface="Wingdings" pitchFamily="2" charset="2"/>
                <a:buChar char="§"/>
                <a:defRPr sz="1500">
                  <a:solidFill>
                    <a:schemeClr val="tx1"/>
                  </a:solidFill>
                  <a:latin typeface="+mn-lt"/>
                  <a:cs typeface="+mn-cs"/>
                </a:defRPr>
              </a:lvl6pPr>
              <a:lvl7pPr marL="1884760" indent="-236935" algn="l" rtl="0" eaLnBrk="1" fontAlgn="base" hangingPunct="1">
                <a:spcBef>
                  <a:spcPct val="20000"/>
                </a:spcBef>
                <a:spcAft>
                  <a:spcPct val="0"/>
                </a:spcAft>
                <a:buClr>
                  <a:schemeClr val="folHlink"/>
                </a:buClr>
                <a:buSzPct val="80000"/>
                <a:buFont typeface="Wingdings" pitchFamily="2" charset="2"/>
                <a:buChar char="§"/>
                <a:defRPr sz="1500">
                  <a:solidFill>
                    <a:schemeClr val="tx1"/>
                  </a:solidFill>
                  <a:latin typeface="+mn-lt"/>
                  <a:cs typeface="+mn-cs"/>
                </a:defRPr>
              </a:lvl7pPr>
              <a:lvl8pPr marL="2227660" indent="-236935" algn="l" rtl="0" eaLnBrk="1" fontAlgn="base" hangingPunct="1">
                <a:spcBef>
                  <a:spcPct val="20000"/>
                </a:spcBef>
                <a:spcAft>
                  <a:spcPct val="0"/>
                </a:spcAft>
                <a:buClr>
                  <a:schemeClr val="folHlink"/>
                </a:buClr>
                <a:buSzPct val="80000"/>
                <a:buFont typeface="Wingdings" pitchFamily="2" charset="2"/>
                <a:buChar char="§"/>
                <a:defRPr sz="1500">
                  <a:solidFill>
                    <a:schemeClr val="tx1"/>
                  </a:solidFill>
                  <a:latin typeface="+mn-lt"/>
                  <a:cs typeface="+mn-cs"/>
                </a:defRPr>
              </a:lvl8pPr>
              <a:lvl9pPr marL="2570560" indent="-236935" algn="l" rtl="0" eaLnBrk="1" fontAlgn="base" hangingPunct="1">
                <a:spcBef>
                  <a:spcPct val="20000"/>
                </a:spcBef>
                <a:spcAft>
                  <a:spcPct val="0"/>
                </a:spcAft>
                <a:buClr>
                  <a:schemeClr val="folHlink"/>
                </a:buClr>
                <a:buSzPct val="80000"/>
                <a:buFont typeface="Wingdings" pitchFamily="2" charset="2"/>
                <a:buChar char="§"/>
                <a:defRPr sz="1500">
                  <a:solidFill>
                    <a:schemeClr val="tx1"/>
                  </a:solidFill>
                  <a:latin typeface="+mn-lt"/>
                  <a:cs typeface="+mn-cs"/>
                </a:defRPr>
              </a:lvl9pPr>
            </a:lstStyle>
            <a:p>
              <a:pPr marL="0" indent="0">
                <a:spcBef>
                  <a:spcPts val="1000"/>
                </a:spcBef>
                <a:spcAft>
                  <a:spcPts val="1000"/>
                </a:spcAft>
                <a:buFont typeface="Webdings" pitchFamily="18" charset="2"/>
                <a:buNone/>
              </a:pPr>
              <a:r>
                <a:rPr lang="en-US" sz="1100" b="1" kern="0" dirty="0"/>
                <a:t>Cadence and Synchronization</a:t>
              </a:r>
            </a:p>
          </p:txBody>
        </p:sp>
        <p:cxnSp>
          <p:nvCxnSpPr>
            <p:cNvPr id="16" name="Straight Connector 15">
              <a:extLst>
                <a:ext uri="{FF2B5EF4-FFF2-40B4-BE49-F238E27FC236}">
                  <a16:creationId xmlns:a16="http://schemas.microsoft.com/office/drawing/2014/main" id="{D1A79220-C8C4-9B40-B4AC-6CFBCAD93022}"/>
                </a:ext>
              </a:extLst>
            </p:cNvPr>
            <p:cNvCxnSpPr/>
            <p:nvPr/>
          </p:nvCxnSpPr>
          <p:spPr bwMode="auto">
            <a:xfrm flipV="1">
              <a:off x="4690017" y="1315128"/>
              <a:ext cx="226810" cy="1265513"/>
            </a:xfrm>
            <a:prstGeom prst="line">
              <a:avLst/>
            </a:prstGeom>
            <a:solidFill>
              <a:schemeClr val="accent1"/>
            </a:solidFill>
            <a:ln w="19050" cap="flat" cmpd="sng" algn="ctr">
              <a:solidFill>
                <a:schemeClr val="accent2"/>
              </a:solidFill>
              <a:prstDash val="solid"/>
              <a:round/>
              <a:headEnd type="oval" w="med" len="med"/>
              <a:tailEnd type="none" w="med" len="med"/>
            </a:ln>
            <a:effectLst/>
          </p:spPr>
        </p:cxnSp>
      </p:grpSp>
      <p:grpSp>
        <p:nvGrpSpPr>
          <p:cNvPr id="17" name="Group 16">
            <a:extLst>
              <a:ext uri="{FF2B5EF4-FFF2-40B4-BE49-F238E27FC236}">
                <a16:creationId xmlns:a16="http://schemas.microsoft.com/office/drawing/2014/main" id="{E54B70A0-8181-1C4D-984C-4A2C06D8C547}"/>
              </a:ext>
            </a:extLst>
          </p:cNvPr>
          <p:cNvGrpSpPr/>
          <p:nvPr/>
        </p:nvGrpSpPr>
        <p:grpSpPr>
          <a:xfrm>
            <a:off x="6391946" y="3044952"/>
            <a:ext cx="1600255" cy="1413357"/>
            <a:chOff x="6391946" y="3044952"/>
            <a:chExt cx="1600255" cy="1413357"/>
          </a:xfrm>
        </p:grpSpPr>
        <p:sp>
          <p:nvSpPr>
            <p:cNvPr id="19" name="Content Placeholder 2">
              <a:extLst>
                <a:ext uri="{FF2B5EF4-FFF2-40B4-BE49-F238E27FC236}">
                  <a16:creationId xmlns:a16="http://schemas.microsoft.com/office/drawing/2014/main" id="{BE16805D-4059-FF49-93F1-CAAEEA621552}"/>
                </a:ext>
              </a:extLst>
            </p:cNvPr>
            <p:cNvSpPr txBox="1">
              <a:spLocks/>
            </p:cNvSpPr>
            <p:nvPr/>
          </p:nvSpPr>
          <p:spPr>
            <a:xfrm>
              <a:off x="7023435" y="4127412"/>
              <a:ext cx="968766" cy="330897"/>
            </a:xfrm>
            <a:prstGeom prst="rect">
              <a:avLst/>
            </a:prstGeom>
          </p:spPr>
          <p:txBody>
            <a:bodyPr/>
            <a:lstStyle>
              <a:lvl1pPr marL="219075" indent="-219075" algn="l" rtl="0" eaLnBrk="1" fontAlgn="base" hangingPunct="1">
                <a:lnSpc>
                  <a:spcPct val="110000"/>
                </a:lnSpc>
                <a:spcBef>
                  <a:spcPts val="1200"/>
                </a:spcBef>
                <a:spcAft>
                  <a:spcPts val="500"/>
                </a:spcAft>
                <a:buClr>
                  <a:schemeClr val="bg1">
                    <a:lumMod val="65000"/>
                  </a:schemeClr>
                </a:buClr>
                <a:buSzPct val="100000"/>
                <a:buFont typeface="Webdings" pitchFamily="18" charset="2"/>
                <a:buChar char="4"/>
                <a:defRPr sz="2000">
                  <a:solidFill>
                    <a:schemeClr val="tx1"/>
                  </a:solidFill>
                  <a:latin typeface="+mn-lt"/>
                  <a:ea typeface="+mn-ea"/>
                  <a:cs typeface="+mn-cs"/>
                </a:defRPr>
              </a:lvl1pPr>
              <a:lvl2pPr marL="561975" indent="-209550" algn="l" rtl="0" eaLnBrk="1" fontAlgn="base" hangingPunct="1">
                <a:lnSpc>
                  <a:spcPct val="110000"/>
                </a:lnSpc>
                <a:spcBef>
                  <a:spcPts val="300"/>
                </a:spcBef>
                <a:spcAft>
                  <a:spcPts val="300"/>
                </a:spcAft>
                <a:buClr>
                  <a:schemeClr val="tx1">
                    <a:lumMod val="50000"/>
                    <a:lumOff val="50000"/>
                  </a:schemeClr>
                </a:buClr>
                <a:buSzPct val="117000"/>
                <a:buFont typeface="Lucida Grande"/>
                <a:buChar char="-"/>
                <a:defRPr sz="1800">
                  <a:solidFill>
                    <a:schemeClr val="tx1"/>
                  </a:solidFill>
                  <a:latin typeface="+mn-lt"/>
                  <a:cs typeface="+mn-cs"/>
                </a:defRPr>
              </a:lvl2pPr>
              <a:lvl3pPr marL="771525" indent="-171450" algn="l" rtl="0" eaLnBrk="1" fontAlgn="base" hangingPunct="1">
                <a:lnSpc>
                  <a:spcPct val="110000"/>
                </a:lnSpc>
                <a:spcBef>
                  <a:spcPts val="300"/>
                </a:spcBef>
                <a:spcAft>
                  <a:spcPts val="300"/>
                </a:spcAft>
                <a:buClr>
                  <a:schemeClr val="tx1">
                    <a:lumMod val="50000"/>
                    <a:lumOff val="50000"/>
                  </a:schemeClr>
                </a:buClr>
                <a:buSzPct val="110000"/>
                <a:buFont typeface="Lucida Grande"/>
                <a:buChar char="-"/>
                <a:defRPr lang="en-US" altLang="en-US" sz="1800" dirty="0" smtClean="0">
                  <a:solidFill>
                    <a:schemeClr val="tx1"/>
                  </a:solidFill>
                  <a:latin typeface="+mn-lt"/>
                  <a:cs typeface="+mn-cs"/>
                </a:defRPr>
              </a:lvl3pPr>
              <a:lvl4pPr marL="1071563" indent="-214313" algn="l" rtl="0" eaLnBrk="1" fontAlgn="base" hangingPunct="1">
                <a:lnSpc>
                  <a:spcPct val="110000"/>
                </a:lnSpc>
                <a:spcBef>
                  <a:spcPts val="225"/>
                </a:spcBef>
                <a:spcAft>
                  <a:spcPts val="225"/>
                </a:spcAft>
                <a:buClr>
                  <a:schemeClr val="tx1">
                    <a:lumMod val="75000"/>
                    <a:lumOff val="25000"/>
                  </a:schemeClr>
                </a:buClr>
                <a:buSzPct val="110000"/>
                <a:buFont typeface="Lucida Grande"/>
                <a:buChar char="-"/>
                <a:defRPr sz="1800" baseline="0">
                  <a:solidFill>
                    <a:schemeClr val="tx1"/>
                  </a:solidFill>
                  <a:latin typeface="+mn-lt"/>
                  <a:cs typeface="+mn-cs"/>
                </a:defRPr>
              </a:lvl4pPr>
              <a:lvl5pPr marL="1246585" indent="-170260" algn="l" rtl="0" eaLnBrk="1" fontAlgn="base" hangingPunct="1">
                <a:lnSpc>
                  <a:spcPct val="110000"/>
                </a:lnSpc>
                <a:spcBef>
                  <a:spcPts val="225"/>
                </a:spcBef>
                <a:spcAft>
                  <a:spcPts val="225"/>
                </a:spcAft>
                <a:buClr>
                  <a:schemeClr val="tx1">
                    <a:lumMod val="75000"/>
                    <a:lumOff val="25000"/>
                  </a:schemeClr>
                </a:buClr>
                <a:buSzPct val="110000"/>
                <a:buFont typeface="Arial Black" pitchFamily="34" charset="0"/>
                <a:buChar char="–"/>
                <a:defRPr sz="1800">
                  <a:solidFill>
                    <a:schemeClr val="tx1"/>
                  </a:solidFill>
                  <a:latin typeface="+mn-lt"/>
                  <a:cs typeface="+mn-cs"/>
                </a:defRPr>
              </a:lvl5pPr>
              <a:lvl6pPr marL="1541860" indent="-236935" algn="l" rtl="0" eaLnBrk="1" fontAlgn="base" hangingPunct="1">
                <a:spcBef>
                  <a:spcPct val="20000"/>
                </a:spcBef>
                <a:spcAft>
                  <a:spcPct val="0"/>
                </a:spcAft>
                <a:buClr>
                  <a:schemeClr val="folHlink"/>
                </a:buClr>
                <a:buSzPct val="80000"/>
                <a:buFont typeface="Wingdings" pitchFamily="2" charset="2"/>
                <a:buChar char="§"/>
                <a:defRPr sz="1500">
                  <a:solidFill>
                    <a:schemeClr val="tx1"/>
                  </a:solidFill>
                  <a:latin typeface="+mn-lt"/>
                  <a:cs typeface="+mn-cs"/>
                </a:defRPr>
              </a:lvl6pPr>
              <a:lvl7pPr marL="1884760" indent="-236935" algn="l" rtl="0" eaLnBrk="1" fontAlgn="base" hangingPunct="1">
                <a:spcBef>
                  <a:spcPct val="20000"/>
                </a:spcBef>
                <a:spcAft>
                  <a:spcPct val="0"/>
                </a:spcAft>
                <a:buClr>
                  <a:schemeClr val="folHlink"/>
                </a:buClr>
                <a:buSzPct val="80000"/>
                <a:buFont typeface="Wingdings" pitchFamily="2" charset="2"/>
                <a:buChar char="§"/>
                <a:defRPr sz="1500">
                  <a:solidFill>
                    <a:schemeClr val="tx1"/>
                  </a:solidFill>
                  <a:latin typeface="+mn-lt"/>
                  <a:cs typeface="+mn-cs"/>
                </a:defRPr>
              </a:lvl7pPr>
              <a:lvl8pPr marL="2227660" indent="-236935" algn="l" rtl="0" eaLnBrk="1" fontAlgn="base" hangingPunct="1">
                <a:spcBef>
                  <a:spcPct val="20000"/>
                </a:spcBef>
                <a:spcAft>
                  <a:spcPct val="0"/>
                </a:spcAft>
                <a:buClr>
                  <a:schemeClr val="folHlink"/>
                </a:buClr>
                <a:buSzPct val="80000"/>
                <a:buFont typeface="Wingdings" pitchFamily="2" charset="2"/>
                <a:buChar char="§"/>
                <a:defRPr sz="1500">
                  <a:solidFill>
                    <a:schemeClr val="tx1"/>
                  </a:solidFill>
                  <a:latin typeface="+mn-lt"/>
                  <a:cs typeface="+mn-cs"/>
                </a:defRPr>
              </a:lvl8pPr>
              <a:lvl9pPr marL="2570560" indent="-236935" algn="l" rtl="0" eaLnBrk="1" fontAlgn="base" hangingPunct="1">
                <a:spcBef>
                  <a:spcPct val="20000"/>
                </a:spcBef>
                <a:spcAft>
                  <a:spcPct val="0"/>
                </a:spcAft>
                <a:buClr>
                  <a:schemeClr val="folHlink"/>
                </a:buClr>
                <a:buSzPct val="80000"/>
                <a:buFont typeface="Wingdings" pitchFamily="2" charset="2"/>
                <a:buChar char="§"/>
                <a:defRPr sz="1500">
                  <a:solidFill>
                    <a:schemeClr val="tx1"/>
                  </a:solidFill>
                  <a:latin typeface="+mn-lt"/>
                  <a:cs typeface="+mn-cs"/>
                </a:defRPr>
              </a:lvl9pPr>
            </a:lstStyle>
            <a:p>
              <a:pPr marL="0" indent="0">
                <a:spcBef>
                  <a:spcPts val="1000"/>
                </a:spcBef>
                <a:spcAft>
                  <a:spcPts val="1000"/>
                </a:spcAft>
                <a:buFont typeface="Webdings" pitchFamily="18" charset="2"/>
                <a:buNone/>
              </a:pPr>
              <a:r>
                <a:rPr lang="en-US" sz="1100" b="1" kern="0" dirty="0"/>
                <a:t>PI Planning</a:t>
              </a:r>
            </a:p>
          </p:txBody>
        </p:sp>
        <p:cxnSp>
          <p:nvCxnSpPr>
            <p:cNvPr id="20" name="Straight Connector 19">
              <a:extLst>
                <a:ext uri="{FF2B5EF4-FFF2-40B4-BE49-F238E27FC236}">
                  <a16:creationId xmlns:a16="http://schemas.microsoft.com/office/drawing/2014/main" id="{994FBB17-A1C9-5746-96C9-349F3F95E77A}"/>
                </a:ext>
              </a:extLst>
            </p:cNvPr>
            <p:cNvCxnSpPr>
              <a:endCxn id="21" idx="0"/>
            </p:cNvCxnSpPr>
            <p:nvPr/>
          </p:nvCxnSpPr>
          <p:spPr bwMode="auto">
            <a:xfrm>
              <a:off x="6391946" y="3044952"/>
              <a:ext cx="537030" cy="1087327"/>
            </a:xfrm>
            <a:prstGeom prst="line">
              <a:avLst/>
            </a:prstGeom>
            <a:solidFill>
              <a:schemeClr val="accent1"/>
            </a:solidFill>
            <a:ln w="19050" cap="flat" cmpd="sng" algn="ctr">
              <a:solidFill>
                <a:schemeClr val="accent2"/>
              </a:solidFill>
              <a:prstDash val="solid"/>
              <a:round/>
              <a:headEnd type="oval" w="med" len="med"/>
              <a:tailEnd type="none" w="med" len="med"/>
            </a:ln>
            <a:effectLst/>
          </p:spPr>
        </p:cxnSp>
        <p:sp>
          <p:nvSpPr>
            <p:cNvPr id="21" name="Oval 20">
              <a:extLst>
                <a:ext uri="{FF2B5EF4-FFF2-40B4-BE49-F238E27FC236}">
                  <a16:creationId xmlns:a16="http://schemas.microsoft.com/office/drawing/2014/main" id="{2DA6C886-77A7-1C4B-927A-FAE1379DC634}"/>
                </a:ext>
              </a:extLst>
            </p:cNvPr>
            <p:cNvSpPr/>
            <p:nvPr/>
          </p:nvSpPr>
          <p:spPr bwMode="auto">
            <a:xfrm>
              <a:off x="6791816" y="4132279"/>
              <a:ext cx="274320" cy="274320"/>
            </a:xfrm>
            <a:prstGeom prst="ellipse">
              <a:avLst/>
            </a:prstGeom>
            <a:solidFill>
              <a:schemeClr val="accent2"/>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eaLnBrk="0" hangingPunct="0">
                <a:spcBef>
                  <a:spcPct val="20000"/>
                </a:spcBef>
              </a:pPr>
              <a:r>
                <a:rPr lang="en-US" sz="1200" dirty="0">
                  <a:solidFill>
                    <a:schemeClr val="bg1"/>
                  </a:solidFill>
                </a:rPr>
                <a:t>4</a:t>
              </a:r>
            </a:p>
          </p:txBody>
        </p:sp>
      </p:grpSp>
      <p:grpSp>
        <p:nvGrpSpPr>
          <p:cNvPr id="22" name="Group 21">
            <a:extLst>
              <a:ext uri="{FF2B5EF4-FFF2-40B4-BE49-F238E27FC236}">
                <a16:creationId xmlns:a16="http://schemas.microsoft.com/office/drawing/2014/main" id="{FFD5D8A3-D362-7947-BEA4-D4C12D0AC3CA}"/>
              </a:ext>
            </a:extLst>
          </p:cNvPr>
          <p:cNvGrpSpPr/>
          <p:nvPr/>
        </p:nvGrpSpPr>
        <p:grpSpPr>
          <a:xfrm>
            <a:off x="5590777" y="1654390"/>
            <a:ext cx="3389937" cy="676779"/>
            <a:chOff x="5590777" y="1654390"/>
            <a:chExt cx="3389937" cy="676779"/>
          </a:xfrm>
        </p:grpSpPr>
        <p:sp>
          <p:nvSpPr>
            <p:cNvPr id="23" name="Content Placeholder 2">
              <a:extLst>
                <a:ext uri="{FF2B5EF4-FFF2-40B4-BE49-F238E27FC236}">
                  <a16:creationId xmlns:a16="http://schemas.microsoft.com/office/drawing/2014/main" id="{621FBE12-DA88-5D4C-AE8E-950B108406AC}"/>
                </a:ext>
              </a:extLst>
            </p:cNvPr>
            <p:cNvSpPr txBox="1">
              <a:spLocks/>
            </p:cNvSpPr>
            <p:nvPr/>
          </p:nvSpPr>
          <p:spPr>
            <a:xfrm>
              <a:off x="7889063" y="1789309"/>
              <a:ext cx="1091651" cy="541860"/>
            </a:xfrm>
            <a:prstGeom prst="rect">
              <a:avLst/>
            </a:prstGeom>
          </p:spPr>
          <p:txBody>
            <a:bodyPr/>
            <a:lstStyle>
              <a:lvl1pPr marL="219075" indent="-219075" algn="l" rtl="0" eaLnBrk="1" fontAlgn="base" hangingPunct="1">
                <a:lnSpc>
                  <a:spcPct val="110000"/>
                </a:lnSpc>
                <a:spcBef>
                  <a:spcPts val="1200"/>
                </a:spcBef>
                <a:spcAft>
                  <a:spcPts val="500"/>
                </a:spcAft>
                <a:buClr>
                  <a:schemeClr val="bg1">
                    <a:lumMod val="65000"/>
                  </a:schemeClr>
                </a:buClr>
                <a:buSzPct val="100000"/>
                <a:buFont typeface="Webdings" pitchFamily="18" charset="2"/>
                <a:buChar char="4"/>
                <a:defRPr sz="2000">
                  <a:solidFill>
                    <a:schemeClr val="tx1"/>
                  </a:solidFill>
                  <a:latin typeface="+mn-lt"/>
                  <a:ea typeface="+mn-ea"/>
                  <a:cs typeface="+mn-cs"/>
                </a:defRPr>
              </a:lvl1pPr>
              <a:lvl2pPr marL="561975" indent="-209550" algn="l" rtl="0" eaLnBrk="1" fontAlgn="base" hangingPunct="1">
                <a:lnSpc>
                  <a:spcPct val="110000"/>
                </a:lnSpc>
                <a:spcBef>
                  <a:spcPts val="300"/>
                </a:spcBef>
                <a:spcAft>
                  <a:spcPts val="300"/>
                </a:spcAft>
                <a:buClr>
                  <a:schemeClr val="tx1">
                    <a:lumMod val="50000"/>
                    <a:lumOff val="50000"/>
                  </a:schemeClr>
                </a:buClr>
                <a:buSzPct val="117000"/>
                <a:buFont typeface="Lucida Grande"/>
                <a:buChar char="-"/>
                <a:defRPr sz="1800">
                  <a:solidFill>
                    <a:schemeClr val="tx1"/>
                  </a:solidFill>
                  <a:latin typeface="+mn-lt"/>
                  <a:cs typeface="+mn-cs"/>
                </a:defRPr>
              </a:lvl2pPr>
              <a:lvl3pPr marL="771525" indent="-171450" algn="l" rtl="0" eaLnBrk="1" fontAlgn="base" hangingPunct="1">
                <a:lnSpc>
                  <a:spcPct val="110000"/>
                </a:lnSpc>
                <a:spcBef>
                  <a:spcPts val="300"/>
                </a:spcBef>
                <a:spcAft>
                  <a:spcPts val="300"/>
                </a:spcAft>
                <a:buClr>
                  <a:schemeClr val="tx1">
                    <a:lumMod val="50000"/>
                    <a:lumOff val="50000"/>
                  </a:schemeClr>
                </a:buClr>
                <a:buSzPct val="110000"/>
                <a:buFont typeface="Lucida Grande"/>
                <a:buChar char="-"/>
                <a:defRPr lang="en-US" altLang="en-US" sz="1800" dirty="0" smtClean="0">
                  <a:solidFill>
                    <a:schemeClr val="tx1"/>
                  </a:solidFill>
                  <a:latin typeface="+mn-lt"/>
                  <a:cs typeface="+mn-cs"/>
                </a:defRPr>
              </a:lvl3pPr>
              <a:lvl4pPr marL="1071563" indent="-214313" algn="l" rtl="0" eaLnBrk="1" fontAlgn="base" hangingPunct="1">
                <a:lnSpc>
                  <a:spcPct val="110000"/>
                </a:lnSpc>
                <a:spcBef>
                  <a:spcPts val="225"/>
                </a:spcBef>
                <a:spcAft>
                  <a:spcPts val="225"/>
                </a:spcAft>
                <a:buClr>
                  <a:schemeClr val="tx1">
                    <a:lumMod val="75000"/>
                    <a:lumOff val="25000"/>
                  </a:schemeClr>
                </a:buClr>
                <a:buSzPct val="110000"/>
                <a:buFont typeface="Lucida Grande"/>
                <a:buChar char="-"/>
                <a:defRPr sz="1800" baseline="0">
                  <a:solidFill>
                    <a:schemeClr val="tx1"/>
                  </a:solidFill>
                  <a:latin typeface="+mn-lt"/>
                  <a:cs typeface="+mn-cs"/>
                </a:defRPr>
              </a:lvl4pPr>
              <a:lvl5pPr marL="1246585" indent="-170260" algn="l" rtl="0" eaLnBrk="1" fontAlgn="base" hangingPunct="1">
                <a:lnSpc>
                  <a:spcPct val="110000"/>
                </a:lnSpc>
                <a:spcBef>
                  <a:spcPts val="225"/>
                </a:spcBef>
                <a:spcAft>
                  <a:spcPts val="225"/>
                </a:spcAft>
                <a:buClr>
                  <a:schemeClr val="tx1">
                    <a:lumMod val="75000"/>
                    <a:lumOff val="25000"/>
                  </a:schemeClr>
                </a:buClr>
                <a:buSzPct val="110000"/>
                <a:buFont typeface="Arial Black" pitchFamily="34" charset="0"/>
                <a:buChar char="–"/>
                <a:defRPr sz="1800">
                  <a:solidFill>
                    <a:schemeClr val="tx1"/>
                  </a:solidFill>
                  <a:latin typeface="+mn-lt"/>
                  <a:cs typeface="+mn-cs"/>
                </a:defRPr>
              </a:lvl5pPr>
              <a:lvl6pPr marL="1541860" indent="-236935" algn="l" rtl="0" eaLnBrk="1" fontAlgn="base" hangingPunct="1">
                <a:spcBef>
                  <a:spcPct val="20000"/>
                </a:spcBef>
                <a:spcAft>
                  <a:spcPct val="0"/>
                </a:spcAft>
                <a:buClr>
                  <a:schemeClr val="folHlink"/>
                </a:buClr>
                <a:buSzPct val="80000"/>
                <a:buFont typeface="Wingdings" pitchFamily="2" charset="2"/>
                <a:buChar char="§"/>
                <a:defRPr sz="1500">
                  <a:solidFill>
                    <a:schemeClr val="tx1"/>
                  </a:solidFill>
                  <a:latin typeface="+mn-lt"/>
                  <a:cs typeface="+mn-cs"/>
                </a:defRPr>
              </a:lvl6pPr>
              <a:lvl7pPr marL="1884760" indent="-236935" algn="l" rtl="0" eaLnBrk="1" fontAlgn="base" hangingPunct="1">
                <a:spcBef>
                  <a:spcPct val="20000"/>
                </a:spcBef>
                <a:spcAft>
                  <a:spcPct val="0"/>
                </a:spcAft>
                <a:buClr>
                  <a:schemeClr val="folHlink"/>
                </a:buClr>
                <a:buSzPct val="80000"/>
                <a:buFont typeface="Wingdings" pitchFamily="2" charset="2"/>
                <a:buChar char="§"/>
                <a:defRPr sz="1500">
                  <a:solidFill>
                    <a:schemeClr val="tx1"/>
                  </a:solidFill>
                  <a:latin typeface="+mn-lt"/>
                  <a:cs typeface="+mn-cs"/>
                </a:defRPr>
              </a:lvl7pPr>
              <a:lvl8pPr marL="2227660" indent="-236935" algn="l" rtl="0" eaLnBrk="1" fontAlgn="base" hangingPunct="1">
                <a:spcBef>
                  <a:spcPct val="20000"/>
                </a:spcBef>
                <a:spcAft>
                  <a:spcPct val="0"/>
                </a:spcAft>
                <a:buClr>
                  <a:schemeClr val="folHlink"/>
                </a:buClr>
                <a:buSzPct val="80000"/>
                <a:buFont typeface="Wingdings" pitchFamily="2" charset="2"/>
                <a:buChar char="§"/>
                <a:defRPr sz="1500">
                  <a:solidFill>
                    <a:schemeClr val="tx1"/>
                  </a:solidFill>
                  <a:latin typeface="+mn-lt"/>
                  <a:cs typeface="+mn-cs"/>
                </a:defRPr>
              </a:lvl8pPr>
              <a:lvl9pPr marL="2570560" indent="-236935" algn="l" rtl="0" eaLnBrk="1" fontAlgn="base" hangingPunct="1">
                <a:spcBef>
                  <a:spcPct val="20000"/>
                </a:spcBef>
                <a:spcAft>
                  <a:spcPct val="0"/>
                </a:spcAft>
                <a:buClr>
                  <a:schemeClr val="folHlink"/>
                </a:buClr>
                <a:buSzPct val="80000"/>
                <a:buFont typeface="Wingdings" pitchFamily="2" charset="2"/>
                <a:buChar char="§"/>
                <a:defRPr sz="1500">
                  <a:solidFill>
                    <a:schemeClr val="tx1"/>
                  </a:solidFill>
                  <a:latin typeface="+mn-lt"/>
                  <a:cs typeface="+mn-cs"/>
                </a:defRPr>
              </a:lvl9pPr>
            </a:lstStyle>
            <a:p>
              <a:pPr marL="0" indent="0">
                <a:spcBef>
                  <a:spcPts val="1000"/>
                </a:spcBef>
                <a:spcAft>
                  <a:spcPts val="1000"/>
                </a:spcAft>
                <a:buFont typeface="Webdings" pitchFamily="18" charset="2"/>
                <a:buNone/>
              </a:pPr>
              <a:r>
                <a:rPr lang="en-US" sz="1100" b="1" kern="0" dirty="0"/>
                <a:t>DevOps and </a:t>
              </a:r>
              <a:r>
                <a:rPr lang="en-US" sz="1100" b="1" kern="0" dirty="0" err="1"/>
                <a:t>Releasability</a:t>
              </a:r>
              <a:endParaRPr lang="en-US" sz="1100" b="1" kern="0" dirty="0"/>
            </a:p>
            <a:p>
              <a:pPr marL="0" indent="0">
                <a:spcBef>
                  <a:spcPts val="1000"/>
                </a:spcBef>
                <a:spcAft>
                  <a:spcPts val="1000"/>
                </a:spcAft>
                <a:buFont typeface="Webdings" pitchFamily="18" charset="2"/>
                <a:buNone/>
              </a:pPr>
              <a:endParaRPr lang="en-US" sz="1100" b="1" kern="0" dirty="0"/>
            </a:p>
          </p:txBody>
        </p:sp>
        <p:sp>
          <p:nvSpPr>
            <p:cNvPr id="24" name="Oval 23">
              <a:extLst>
                <a:ext uri="{FF2B5EF4-FFF2-40B4-BE49-F238E27FC236}">
                  <a16:creationId xmlns:a16="http://schemas.microsoft.com/office/drawing/2014/main" id="{94A7080E-B626-7447-9D2C-1BEE5DB71B4F}"/>
                </a:ext>
              </a:extLst>
            </p:cNvPr>
            <p:cNvSpPr/>
            <p:nvPr/>
          </p:nvSpPr>
          <p:spPr bwMode="auto">
            <a:xfrm>
              <a:off x="7655425" y="1894007"/>
              <a:ext cx="274320" cy="274320"/>
            </a:xfrm>
            <a:prstGeom prst="ellipse">
              <a:avLst/>
            </a:prstGeom>
            <a:solidFill>
              <a:schemeClr val="accent2"/>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eaLnBrk="0" hangingPunct="0">
                <a:spcBef>
                  <a:spcPct val="20000"/>
                </a:spcBef>
              </a:pPr>
              <a:r>
                <a:rPr lang="en-US" sz="1200" dirty="0">
                  <a:solidFill>
                    <a:schemeClr val="bg1"/>
                  </a:solidFill>
                </a:rPr>
                <a:t>5</a:t>
              </a:r>
            </a:p>
          </p:txBody>
        </p:sp>
        <p:cxnSp>
          <p:nvCxnSpPr>
            <p:cNvPr id="25" name="Straight Connector 24">
              <a:extLst>
                <a:ext uri="{FF2B5EF4-FFF2-40B4-BE49-F238E27FC236}">
                  <a16:creationId xmlns:a16="http://schemas.microsoft.com/office/drawing/2014/main" id="{2236CBA8-4599-134F-B70C-3896042B4521}"/>
                </a:ext>
              </a:extLst>
            </p:cNvPr>
            <p:cNvCxnSpPr/>
            <p:nvPr/>
          </p:nvCxnSpPr>
          <p:spPr bwMode="auto">
            <a:xfrm>
              <a:off x="5590777" y="1654390"/>
              <a:ext cx="2112400" cy="376777"/>
            </a:xfrm>
            <a:prstGeom prst="line">
              <a:avLst/>
            </a:prstGeom>
            <a:solidFill>
              <a:schemeClr val="accent1"/>
            </a:solidFill>
            <a:ln w="19050" cap="flat" cmpd="sng" algn="ctr">
              <a:solidFill>
                <a:schemeClr val="accent2"/>
              </a:solidFill>
              <a:prstDash val="solid"/>
              <a:round/>
              <a:headEnd type="oval" w="med" len="med"/>
              <a:tailEnd type="none" w="med" len="med"/>
            </a:ln>
            <a:effectLst/>
          </p:spPr>
        </p:cxnSp>
        <p:cxnSp>
          <p:nvCxnSpPr>
            <p:cNvPr id="26" name="Straight Connector 25">
              <a:extLst>
                <a:ext uri="{FF2B5EF4-FFF2-40B4-BE49-F238E27FC236}">
                  <a16:creationId xmlns:a16="http://schemas.microsoft.com/office/drawing/2014/main" id="{1664D09B-EFB7-BB42-BDCC-2F962B56831A}"/>
                </a:ext>
              </a:extLst>
            </p:cNvPr>
            <p:cNvCxnSpPr/>
            <p:nvPr/>
          </p:nvCxnSpPr>
          <p:spPr bwMode="auto">
            <a:xfrm flipV="1">
              <a:off x="7213067" y="2055650"/>
              <a:ext cx="461274" cy="1"/>
            </a:xfrm>
            <a:prstGeom prst="line">
              <a:avLst/>
            </a:prstGeom>
            <a:solidFill>
              <a:schemeClr val="accent1"/>
            </a:solidFill>
            <a:ln w="19050" cap="flat" cmpd="sng" algn="ctr">
              <a:solidFill>
                <a:schemeClr val="accent2"/>
              </a:solidFill>
              <a:prstDash val="solid"/>
              <a:round/>
              <a:headEnd type="oval" w="med" len="med"/>
              <a:tailEnd type="none" w="med" len="med"/>
            </a:ln>
            <a:effectLst/>
          </p:spPr>
        </p:cxnSp>
      </p:grpSp>
      <p:grpSp>
        <p:nvGrpSpPr>
          <p:cNvPr id="27" name="Group 26">
            <a:extLst>
              <a:ext uri="{FF2B5EF4-FFF2-40B4-BE49-F238E27FC236}">
                <a16:creationId xmlns:a16="http://schemas.microsoft.com/office/drawing/2014/main" id="{D95B2275-FDE3-054F-BCDC-D67D60969561}"/>
              </a:ext>
            </a:extLst>
          </p:cNvPr>
          <p:cNvGrpSpPr/>
          <p:nvPr/>
        </p:nvGrpSpPr>
        <p:grpSpPr>
          <a:xfrm>
            <a:off x="2906077" y="934384"/>
            <a:ext cx="1599239" cy="1452564"/>
            <a:chOff x="2906077" y="934384"/>
            <a:chExt cx="1599239" cy="1452564"/>
          </a:xfrm>
        </p:grpSpPr>
        <p:sp>
          <p:nvSpPr>
            <p:cNvPr id="28" name="Content Placeholder 2">
              <a:extLst>
                <a:ext uri="{FF2B5EF4-FFF2-40B4-BE49-F238E27FC236}">
                  <a16:creationId xmlns:a16="http://schemas.microsoft.com/office/drawing/2014/main" id="{5EB75EEB-814C-4041-8D8F-79D632510AA5}"/>
                </a:ext>
              </a:extLst>
            </p:cNvPr>
            <p:cNvSpPr txBox="1">
              <a:spLocks/>
            </p:cNvSpPr>
            <p:nvPr/>
          </p:nvSpPr>
          <p:spPr>
            <a:xfrm>
              <a:off x="2906077" y="934384"/>
              <a:ext cx="1599239" cy="330897"/>
            </a:xfrm>
            <a:prstGeom prst="rect">
              <a:avLst/>
            </a:prstGeom>
          </p:spPr>
          <p:txBody>
            <a:bodyPr/>
            <a:lstStyle>
              <a:lvl1pPr marL="219075" indent="-219075" algn="l" rtl="0" eaLnBrk="1" fontAlgn="base" hangingPunct="1">
                <a:lnSpc>
                  <a:spcPct val="110000"/>
                </a:lnSpc>
                <a:spcBef>
                  <a:spcPts val="1200"/>
                </a:spcBef>
                <a:spcAft>
                  <a:spcPts val="500"/>
                </a:spcAft>
                <a:buClr>
                  <a:schemeClr val="bg1">
                    <a:lumMod val="65000"/>
                  </a:schemeClr>
                </a:buClr>
                <a:buSzPct val="100000"/>
                <a:buFont typeface="Webdings" pitchFamily="18" charset="2"/>
                <a:buChar char="4"/>
                <a:defRPr sz="2000">
                  <a:solidFill>
                    <a:schemeClr val="tx1"/>
                  </a:solidFill>
                  <a:latin typeface="+mn-lt"/>
                  <a:ea typeface="+mn-ea"/>
                  <a:cs typeface="+mn-cs"/>
                </a:defRPr>
              </a:lvl1pPr>
              <a:lvl2pPr marL="561975" indent="-209550" algn="l" rtl="0" eaLnBrk="1" fontAlgn="base" hangingPunct="1">
                <a:lnSpc>
                  <a:spcPct val="110000"/>
                </a:lnSpc>
                <a:spcBef>
                  <a:spcPts val="300"/>
                </a:spcBef>
                <a:spcAft>
                  <a:spcPts val="300"/>
                </a:spcAft>
                <a:buClr>
                  <a:schemeClr val="tx1">
                    <a:lumMod val="50000"/>
                    <a:lumOff val="50000"/>
                  </a:schemeClr>
                </a:buClr>
                <a:buSzPct val="117000"/>
                <a:buFont typeface="Lucida Grande"/>
                <a:buChar char="-"/>
                <a:defRPr sz="1800">
                  <a:solidFill>
                    <a:schemeClr val="tx1"/>
                  </a:solidFill>
                  <a:latin typeface="+mn-lt"/>
                  <a:cs typeface="+mn-cs"/>
                </a:defRPr>
              </a:lvl2pPr>
              <a:lvl3pPr marL="771525" indent="-171450" algn="l" rtl="0" eaLnBrk="1" fontAlgn="base" hangingPunct="1">
                <a:lnSpc>
                  <a:spcPct val="110000"/>
                </a:lnSpc>
                <a:spcBef>
                  <a:spcPts val="300"/>
                </a:spcBef>
                <a:spcAft>
                  <a:spcPts val="300"/>
                </a:spcAft>
                <a:buClr>
                  <a:schemeClr val="tx1">
                    <a:lumMod val="50000"/>
                    <a:lumOff val="50000"/>
                  </a:schemeClr>
                </a:buClr>
                <a:buSzPct val="110000"/>
                <a:buFont typeface="Lucida Grande"/>
                <a:buChar char="-"/>
                <a:defRPr lang="en-US" altLang="en-US" sz="1800" dirty="0" smtClean="0">
                  <a:solidFill>
                    <a:schemeClr val="tx1"/>
                  </a:solidFill>
                  <a:latin typeface="+mn-lt"/>
                  <a:cs typeface="+mn-cs"/>
                </a:defRPr>
              </a:lvl3pPr>
              <a:lvl4pPr marL="1071563" indent="-214313" algn="l" rtl="0" eaLnBrk="1" fontAlgn="base" hangingPunct="1">
                <a:lnSpc>
                  <a:spcPct val="110000"/>
                </a:lnSpc>
                <a:spcBef>
                  <a:spcPts val="225"/>
                </a:spcBef>
                <a:spcAft>
                  <a:spcPts val="225"/>
                </a:spcAft>
                <a:buClr>
                  <a:schemeClr val="tx1">
                    <a:lumMod val="75000"/>
                    <a:lumOff val="25000"/>
                  </a:schemeClr>
                </a:buClr>
                <a:buSzPct val="110000"/>
                <a:buFont typeface="Lucida Grande"/>
                <a:buChar char="-"/>
                <a:defRPr sz="1800" baseline="0">
                  <a:solidFill>
                    <a:schemeClr val="tx1"/>
                  </a:solidFill>
                  <a:latin typeface="+mn-lt"/>
                  <a:cs typeface="+mn-cs"/>
                </a:defRPr>
              </a:lvl4pPr>
              <a:lvl5pPr marL="1246585" indent="-170260" algn="l" rtl="0" eaLnBrk="1" fontAlgn="base" hangingPunct="1">
                <a:lnSpc>
                  <a:spcPct val="110000"/>
                </a:lnSpc>
                <a:spcBef>
                  <a:spcPts val="225"/>
                </a:spcBef>
                <a:spcAft>
                  <a:spcPts val="225"/>
                </a:spcAft>
                <a:buClr>
                  <a:schemeClr val="tx1">
                    <a:lumMod val="75000"/>
                    <a:lumOff val="25000"/>
                  </a:schemeClr>
                </a:buClr>
                <a:buSzPct val="110000"/>
                <a:buFont typeface="Arial Black" pitchFamily="34" charset="0"/>
                <a:buChar char="–"/>
                <a:defRPr sz="1800">
                  <a:solidFill>
                    <a:schemeClr val="tx1"/>
                  </a:solidFill>
                  <a:latin typeface="+mn-lt"/>
                  <a:cs typeface="+mn-cs"/>
                </a:defRPr>
              </a:lvl5pPr>
              <a:lvl6pPr marL="1541860" indent="-236935" algn="l" rtl="0" eaLnBrk="1" fontAlgn="base" hangingPunct="1">
                <a:spcBef>
                  <a:spcPct val="20000"/>
                </a:spcBef>
                <a:spcAft>
                  <a:spcPct val="0"/>
                </a:spcAft>
                <a:buClr>
                  <a:schemeClr val="folHlink"/>
                </a:buClr>
                <a:buSzPct val="80000"/>
                <a:buFont typeface="Wingdings" pitchFamily="2" charset="2"/>
                <a:buChar char="§"/>
                <a:defRPr sz="1500">
                  <a:solidFill>
                    <a:schemeClr val="tx1"/>
                  </a:solidFill>
                  <a:latin typeface="+mn-lt"/>
                  <a:cs typeface="+mn-cs"/>
                </a:defRPr>
              </a:lvl6pPr>
              <a:lvl7pPr marL="1884760" indent="-236935" algn="l" rtl="0" eaLnBrk="1" fontAlgn="base" hangingPunct="1">
                <a:spcBef>
                  <a:spcPct val="20000"/>
                </a:spcBef>
                <a:spcAft>
                  <a:spcPct val="0"/>
                </a:spcAft>
                <a:buClr>
                  <a:schemeClr val="folHlink"/>
                </a:buClr>
                <a:buSzPct val="80000"/>
                <a:buFont typeface="Wingdings" pitchFamily="2" charset="2"/>
                <a:buChar char="§"/>
                <a:defRPr sz="1500">
                  <a:solidFill>
                    <a:schemeClr val="tx1"/>
                  </a:solidFill>
                  <a:latin typeface="+mn-lt"/>
                  <a:cs typeface="+mn-cs"/>
                </a:defRPr>
              </a:lvl7pPr>
              <a:lvl8pPr marL="2227660" indent="-236935" algn="l" rtl="0" eaLnBrk="1" fontAlgn="base" hangingPunct="1">
                <a:spcBef>
                  <a:spcPct val="20000"/>
                </a:spcBef>
                <a:spcAft>
                  <a:spcPct val="0"/>
                </a:spcAft>
                <a:buClr>
                  <a:schemeClr val="folHlink"/>
                </a:buClr>
                <a:buSzPct val="80000"/>
                <a:buFont typeface="Wingdings" pitchFamily="2" charset="2"/>
                <a:buChar char="§"/>
                <a:defRPr sz="1500">
                  <a:solidFill>
                    <a:schemeClr val="tx1"/>
                  </a:solidFill>
                  <a:latin typeface="+mn-lt"/>
                  <a:cs typeface="+mn-cs"/>
                </a:defRPr>
              </a:lvl8pPr>
              <a:lvl9pPr marL="2570560" indent="-236935" algn="l" rtl="0" eaLnBrk="1" fontAlgn="base" hangingPunct="1">
                <a:spcBef>
                  <a:spcPct val="20000"/>
                </a:spcBef>
                <a:spcAft>
                  <a:spcPct val="0"/>
                </a:spcAft>
                <a:buClr>
                  <a:schemeClr val="folHlink"/>
                </a:buClr>
                <a:buSzPct val="80000"/>
                <a:buFont typeface="Wingdings" pitchFamily="2" charset="2"/>
                <a:buChar char="§"/>
                <a:defRPr sz="1500">
                  <a:solidFill>
                    <a:schemeClr val="tx1"/>
                  </a:solidFill>
                  <a:latin typeface="+mn-lt"/>
                  <a:cs typeface="+mn-cs"/>
                </a:defRPr>
              </a:lvl9pPr>
            </a:lstStyle>
            <a:p>
              <a:pPr marL="0" indent="0">
                <a:spcBef>
                  <a:spcPts val="1000"/>
                </a:spcBef>
                <a:spcAft>
                  <a:spcPts val="1000"/>
                </a:spcAft>
                <a:buFont typeface="Webdings" pitchFamily="18" charset="2"/>
                <a:buNone/>
              </a:pPr>
              <a:r>
                <a:rPr lang="en-US" sz="1100" b="1" kern="0" dirty="0"/>
                <a:t>System Demo</a:t>
              </a:r>
            </a:p>
          </p:txBody>
        </p:sp>
        <p:sp>
          <p:nvSpPr>
            <p:cNvPr id="29" name="Oval 28">
              <a:extLst>
                <a:ext uri="{FF2B5EF4-FFF2-40B4-BE49-F238E27FC236}">
                  <a16:creationId xmlns:a16="http://schemas.microsoft.com/office/drawing/2014/main" id="{EBFC9ECF-2071-764F-BB08-3FEEB38859C0}"/>
                </a:ext>
              </a:extLst>
            </p:cNvPr>
            <p:cNvSpPr/>
            <p:nvPr/>
          </p:nvSpPr>
          <p:spPr bwMode="auto">
            <a:xfrm>
              <a:off x="3990330" y="935987"/>
              <a:ext cx="274320" cy="274320"/>
            </a:xfrm>
            <a:prstGeom prst="ellipse">
              <a:avLst/>
            </a:prstGeom>
            <a:solidFill>
              <a:schemeClr val="accent2"/>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eaLnBrk="0" hangingPunct="0">
                <a:spcBef>
                  <a:spcPct val="20000"/>
                </a:spcBef>
              </a:pPr>
              <a:r>
                <a:rPr lang="en-US" sz="1600" dirty="0">
                  <a:solidFill>
                    <a:schemeClr val="bg1"/>
                  </a:solidFill>
                </a:rPr>
                <a:t>6</a:t>
              </a:r>
            </a:p>
          </p:txBody>
        </p:sp>
        <p:cxnSp>
          <p:nvCxnSpPr>
            <p:cNvPr id="30" name="Straight Connector 29">
              <a:extLst>
                <a:ext uri="{FF2B5EF4-FFF2-40B4-BE49-F238E27FC236}">
                  <a16:creationId xmlns:a16="http://schemas.microsoft.com/office/drawing/2014/main" id="{A2D44C36-724B-4640-8941-A6E4ECBC4418}"/>
                </a:ext>
              </a:extLst>
            </p:cNvPr>
            <p:cNvCxnSpPr/>
            <p:nvPr/>
          </p:nvCxnSpPr>
          <p:spPr bwMode="auto">
            <a:xfrm flipH="1" flipV="1">
              <a:off x="4134265" y="1203504"/>
              <a:ext cx="102852" cy="1183444"/>
            </a:xfrm>
            <a:prstGeom prst="line">
              <a:avLst/>
            </a:prstGeom>
            <a:solidFill>
              <a:schemeClr val="accent1"/>
            </a:solidFill>
            <a:ln w="19050" cap="flat" cmpd="sng" algn="ctr">
              <a:solidFill>
                <a:schemeClr val="accent2"/>
              </a:solidFill>
              <a:prstDash val="solid"/>
              <a:round/>
              <a:headEnd type="oval" w="med" len="med"/>
              <a:tailEnd type="none" w="med" len="med"/>
            </a:ln>
            <a:effectLst/>
          </p:spPr>
        </p:cxnSp>
      </p:grpSp>
      <p:grpSp>
        <p:nvGrpSpPr>
          <p:cNvPr id="31" name="Group 30">
            <a:extLst>
              <a:ext uri="{FF2B5EF4-FFF2-40B4-BE49-F238E27FC236}">
                <a16:creationId xmlns:a16="http://schemas.microsoft.com/office/drawing/2014/main" id="{D60EA051-4C00-544F-BE11-EE7E1D07DB50}"/>
              </a:ext>
            </a:extLst>
          </p:cNvPr>
          <p:cNvGrpSpPr/>
          <p:nvPr/>
        </p:nvGrpSpPr>
        <p:grpSpPr>
          <a:xfrm>
            <a:off x="6442268" y="2412234"/>
            <a:ext cx="2268537" cy="452175"/>
            <a:chOff x="6442268" y="2412234"/>
            <a:chExt cx="2268537" cy="452175"/>
          </a:xfrm>
        </p:grpSpPr>
        <p:sp>
          <p:nvSpPr>
            <p:cNvPr id="32" name="Content Placeholder 2">
              <a:extLst>
                <a:ext uri="{FF2B5EF4-FFF2-40B4-BE49-F238E27FC236}">
                  <a16:creationId xmlns:a16="http://schemas.microsoft.com/office/drawing/2014/main" id="{70D3AA50-D42E-E74D-995F-278A347E58B8}"/>
                </a:ext>
              </a:extLst>
            </p:cNvPr>
            <p:cNvSpPr txBox="1">
              <a:spLocks/>
            </p:cNvSpPr>
            <p:nvPr/>
          </p:nvSpPr>
          <p:spPr>
            <a:xfrm>
              <a:off x="7953200" y="2412234"/>
              <a:ext cx="757605" cy="452175"/>
            </a:xfrm>
            <a:prstGeom prst="rect">
              <a:avLst/>
            </a:prstGeom>
          </p:spPr>
          <p:txBody>
            <a:bodyPr/>
            <a:lstStyle>
              <a:lvl1pPr marL="219075" indent="-219075" algn="l" rtl="0" eaLnBrk="1" fontAlgn="base" hangingPunct="1">
                <a:lnSpc>
                  <a:spcPct val="110000"/>
                </a:lnSpc>
                <a:spcBef>
                  <a:spcPts val="1200"/>
                </a:spcBef>
                <a:spcAft>
                  <a:spcPts val="500"/>
                </a:spcAft>
                <a:buClr>
                  <a:schemeClr val="bg1">
                    <a:lumMod val="65000"/>
                  </a:schemeClr>
                </a:buClr>
                <a:buSzPct val="100000"/>
                <a:buFont typeface="Webdings" pitchFamily="18" charset="2"/>
                <a:buChar char="4"/>
                <a:defRPr sz="2000">
                  <a:solidFill>
                    <a:schemeClr val="tx1"/>
                  </a:solidFill>
                  <a:latin typeface="+mn-lt"/>
                  <a:ea typeface="+mn-ea"/>
                  <a:cs typeface="+mn-cs"/>
                </a:defRPr>
              </a:lvl1pPr>
              <a:lvl2pPr marL="561975" indent="-209550" algn="l" rtl="0" eaLnBrk="1" fontAlgn="base" hangingPunct="1">
                <a:lnSpc>
                  <a:spcPct val="110000"/>
                </a:lnSpc>
                <a:spcBef>
                  <a:spcPts val="300"/>
                </a:spcBef>
                <a:spcAft>
                  <a:spcPts val="300"/>
                </a:spcAft>
                <a:buClr>
                  <a:schemeClr val="tx1">
                    <a:lumMod val="50000"/>
                    <a:lumOff val="50000"/>
                  </a:schemeClr>
                </a:buClr>
                <a:buSzPct val="117000"/>
                <a:buFont typeface="Lucida Grande"/>
                <a:buChar char="-"/>
                <a:defRPr sz="1800">
                  <a:solidFill>
                    <a:schemeClr val="tx1"/>
                  </a:solidFill>
                  <a:latin typeface="+mn-lt"/>
                  <a:cs typeface="+mn-cs"/>
                </a:defRPr>
              </a:lvl2pPr>
              <a:lvl3pPr marL="771525" indent="-171450" algn="l" rtl="0" eaLnBrk="1" fontAlgn="base" hangingPunct="1">
                <a:lnSpc>
                  <a:spcPct val="110000"/>
                </a:lnSpc>
                <a:spcBef>
                  <a:spcPts val="300"/>
                </a:spcBef>
                <a:spcAft>
                  <a:spcPts val="300"/>
                </a:spcAft>
                <a:buClr>
                  <a:schemeClr val="tx1">
                    <a:lumMod val="50000"/>
                    <a:lumOff val="50000"/>
                  </a:schemeClr>
                </a:buClr>
                <a:buSzPct val="110000"/>
                <a:buFont typeface="Lucida Grande"/>
                <a:buChar char="-"/>
                <a:defRPr lang="en-US" altLang="en-US" sz="1800" dirty="0" smtClean="0">
                  <a:solidFill>
                    <a:schemeClr val="tx1"/>
                  </a:solidFill>
                  <a:latin typeface="+mn-lt"/>
                  <a:cs typeface="+mn-cs"/>
                </a:defRPr>
              </a:lvl3pPr>
              <a:lvl4pPr marL="1071563" indent="-214313" algn="l" rtl="0" eaLnBrk="1" fontAlgn="base" hangingPunct="1">
                <a:lnSpc>
                  <a:spcPct val="110000"/>
                </a:lnSpc>
                <a:spcBef>
                  <a:spcPts val="225"/>
                </a:spcBef>
                <a:spcAft>
                  <a:spcPts val="225"/>
                </a:spcAft>
                <a:buClr>
                  <a:schemeClr val="tx1">
                    <a:lumMod val="75000"/>
                    <a:lumOff val="25000"/>
                  </a:schemeClr>
                </a:buClr>
                <a:buSzPct val="110000"/>
                <a:buFont typeface="Lucida Grande"/>
                <a:buChar char="-"/>
                <a:defRPr sz="1800" baseline="0">
                  <a:solidFill>
                    <a:schemeClr val="tx1"/>
                  </a:solidFill>
                  <a:latin typeface="+mn-lt"/>
                  <a:cs typeface="+mn-cs"/>
                </a:defRPr>
              </a:lvl4pPr>
              <a:lvl5pPr marL="1246585" indent="-170260" algn="l" rtl="0" eaLnBrk="1" fontAlgn="base" hangingPunct="1">
                <a:lnSpc>
                  <a:spcPct val="110000"/>
                </a:lnSpc>
                <a:spcBef>
                  <a:spcPts val="225"/>
                </a:spcBef>
                <a:spcAft>
                  <a:spcPts val="225"/>
                </a:spcAft>
                <a:buClr>
                  <a:schemeClr val="tx1">
                    <a:lumMod val="75000"/>
                    <a:lumOff val="25000"/>
                  </a:schemeClr>
                </a:buClr>
                <a:buSzPct val="110000"/>
                <a:buFont typeface="Arial Black" pitchFamily="34" charset="0"/>
                <a:buChar char="–"/>
                <a:defRPr sz="1800">
                  <a:solidFill>
                    <a:schemeClr val="tx1"/>
                  </a:solidFill>
                  <a:latin typeface="+mn-lt"/>
                  <a:cs typeface="+mn-cs"/>
                </a:defRPr>
              </a:lvl5pPr>
              <a:lvl6pPr marL="1541860" indent="-236935" algn="l" rtl="0" eaLnBrk="1" fontAlgn="base" hangingPunct="1">
                <a:spcBef>
                  <a:spcPct val="20000"/>
                </a:spcBef>
                <a:spcAft>
                  <a:spcPct val="0"/>
                </a:spcAft>
                <a:buClr>
                  <a:schemeClr val="folHlink"/>
                </a:buClr>
                <a:buSzPct val="80000"/>
                <a:buFont typeface="Wingdings" pitchFamily="2" charset="2"/>
                <a:buChar char="§"/>
                <a:defRPr sz="1500">
                  <a:solidFill>
                    <a:schemeClr val="tx1"/>
                  </a:solidFill>
                  <a:latin typeface="+mn-lt"/>
                  <a:cs typeface="+mn-cs"/>
                </a:defRPr>
              </a:lvl6pPr>
              <a:lvl7pPr marL="1884760" indent="-236935" algn="l" rtl="0" eaLnBrk="1" fontAlgn="base" hangingPunct="1">
                <a:spcBef>
                  <a:spcPct val="20000"/>
                </a:spcBef>
                <a:spcAft>
                  <a:spcPct val="0"/>
                </a:spcAft>
                <a:buClr>
                  <a:schemeClr val="folHlink"/>
                </a:buClr>
                <a:buSzPct val="80000"/>
                <a:buFont typeface="Wingdings" pitchFamily="2" charset="2"/>
                <a:buChar char="§"/>
                <a:defRPr sz="1500">
                  <a:solidFill>
                    <a:schemeClr val="tx1"/>
                  </a:solidFill>
                  <a:latin typeface="+mn-lt"/>
                  <a:cs typeface="+mn-cs"/>
                </a:defRPr>
              </a:lvl7pPr>
              <a:lvl8pPr marL="2227660" indent="-236935" algn="l" rtl="0" eaLnBrk="1" fontAlgn="base" hangingPunct="1">
                <a:spcBef>
                  <a:spcPct val="20000"/>
                </a:spcBef>
                <a:spcAft>
                  <a:spcPct val="0"/>
                </a:spcAft>
                <a:buClr>
                  <a:schemeClr val="folHlink"/>
                </a:buClr>
                <a:buSzPct val="80000"/>
                <a:buFont typeface="Wingdings" pitchFamily="2" charset="2"/>
                <a:buChar char="§"/>
                <a:defRPr sz="1500">
                  <a:solidFill>
                    <a:schemeClr val="tx1"/>
                  </a:solidFill>
                  <a:latin typeface="+mn-lt"/>
                  <a:cs typeface="+mn-cs"/>
                </a:defRPr>
              </a:lvl8pPr>
              <a:lvl9pPr marL="2570560" indent="-236935" algn="l" rtl="0" eaLnBrk="1" fontAlgn="base" hangingPunct="1">
                <a:spcBef>
                  <a:spcPct val="20000"/>
                </a:spcBef>
                <a:spcAft>
                  <a:spcPct val="0"/>
                </a:spcAft>
                <a:buClr>
                  <a:schemeClr val="folHlink"/>
                </a:buClr>
                <a:buSzPct val="80000"/>
                <a:buFont typeface="Wingdings" pitchFamily="2" charset="2"/>
                <a:buChar char="§"/>
                <a:defRPr sz="1500">
                  <a:solidFill>
                    <a:schemeClr val="tx1"/>
                  </a:solidFill>
                  <a:latin typeface="+mn-lt"/>
                  <a:cs typeface="+mn-cs"/>
                </a:defRPr>
              </a:lvl9pPr>
            </a:lstStyle>
            <a:p>
              <a:pPr marL="0" indent="0">
                <a:spcBef>
                  <a:spcPts val="1000"/>
                </a:spcBef>
                <a:spcAft>
                  <a:spcPts val="1000"/>
                </a:spcAft>
                <a:buFont typeface="Webdings" pitchFamily="18" charset="2"/>
                <a:buNone/>
              </a:pPr>
              <a:r>
                <a:rPr lang="en-US" sz="1100" b="1" kern="0" dirty="0"/>
                <a:t>Inspect &amp; Adapt</a:t>
              </a:r>
            </a:p>
          </p:txBody>
        </p:sp>
        <p:sp>
          <p:nvSpPr>
            <p:cNvPr id="33" name="Oval 32">
              <a:extLst>
                <a:ext uri="{FF2B5EF4-FFF2-40B4-BE49-F238E27FC236}">
                  <a16:creationId xmlns:a16="http://schemas.microsoft.com/office/drawing/2014/main" id="{62775A9C-0D58-3A4D-AA79-75FC81879295}"/>
                </a:ext>
              </a:extLst>
            </p:cNvPr>
            <p:cNvSpPr/>
            <p:nvPr/>
          </p:nvSpPr>
          <p:spPr bwMode="auto">
            <a:xfrm>
              <a:off x="7709895" y="2501162"/>
              <a:ext cx="252304" cy="274320"/>
            </a:xfrm>
            <a:prstGeom prst="ellipse">
              <a:avLst/>
            </a:prstGeom>
            <a:solidFill>
              <a:schemeClr val="accent2"/>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eaLnBrk="0" hangingPunct="0">
                <a:spcBef>
                  <a:spcPct val="20000"/>
                </a:spcBef>
              </a:pPr>
              <a:r>
                <a:rPr lang="en-US" sz="1200" dirty="0">
                  <a:solidFill>
                    <a:schemeClr val="bg1"/>
                  </a:solidFill>
                </a:rPr>
                <a:t>7</a:t>
              </a:r>
            </a:p>
          </p:txBody>
        </p:sp>
        <p:cxnSp>
          <p:nvCxnSpPr>
            <p:cNvPr id="34" name="Straight Connector 33">
              <a:extLst>
                <a:ext uri="{FF2B5EF4-FFF2-40B4-BE49-F238E27FC236}">
                  <a16:creationId xmlns:a16="http://schemas.microsoft.com/office/drawing/2014/main" id="{A34E79E3-14E0-9A42-924E-50CB265F3CA0}"/>
                </a:ext>
              </a:extLst>
            </p:cNvPr>
            <p:cNvCxnSpPr>
              <a:endCxn id="33" idx="2"/>
            </p:cNvCxnSpPr>
            <p:nvPr/>
          </p:nvCxnSpPr>
          <p:spPr bwMode="auto">
            <a:xfrm>
              <a:off x="6442268" y="2522961"/>
              <a:ext cx="1267627" cy="115361"/>
            </a:xfrm>
            <a:prstGeom prst="line">
              <a:avLst/>
            </a:prstGeom>
            <a:solidFill>
              <a:schemeClr val="accent1"/>
            </a:solidFill>
            <a:ln w="19050" cap="flat" cmpd="sng" algn="ctr">
              <a:solidFill>
                <a:schemeClr val="accent2"/>
              </a:solidFill>
              <a:prstDash val="solid"/>
              <a:round/>
              <a:headEnd type="oval" w="med" len="med"/>
              <a:tailEnd type="none" w="med" len="med"/>
            </a:ln>
            <a:effectLst/>
          </p:spPr>
        </p:cxnSp>
      </p:grpSp>
      <p:grpSp>
        <p:nvGrpSpPr>
          <p:cNvPr id="35" name="Group 34">
            <a:extLst>
              <a:ext uri="{FF2B5EF4-FFF2-40B4-BE49-F238E27FC236}">
                <a16:creationId xmlns:a16="http://schemas.microsoft.com/office/drawing/2014/main" id="{0B799A01-3DCC-004C-8FE1-307BE534F309}"/>
              </a:ext>
            </a:extLst>
          </p:cNvPr>
          <p:cNvGrpSpPr/>
          <p:nvPr/>
        </p:nvGrpSpPr>
        <p:grpSpPr>
          <a:xfrm>
            <a:off x="4779667" y="3588615"/>
            <a:ext cx="1189302" cy="1035561"/>
            <a:chOff x="4779667" y="3588615"/>
            <a:chExt cx="1189302" cy="1035561"/>
          </a:xfrm>
        </p:grpSpPr>
        <p:sp>
          <p:nvSpPr>
            <p:cNvPr id="36" name="Content Placeholder 2">
              <a:extLst>
                <a:ext uri="{FF2B5EF4-FFF2-40B4-BE49-F238E27FC236}">
                  <a16:creationId xmlns:a16="http://schemas.microsoft.com/office/drawing/2014/main" id="{990A13CE-8B79-DD45-9292-CE5AD30C8D54}"/>
                </a:ext>
              </a:extLst>
            </p:cNvPr>
            <p:cNvSpPr txBox="1">
              <a:spLocks/>
            </p:cNvSpPr>
            <p:nvPr/>
          </p:nvSpPr>
          <p:spPr>
            <a:xfrm>
              <a:off x="5012710" y="4315036"/>
              <a:ext cx="956259" cy="309140"/>
            </a:xfrm>
            <a:prstGeom prst="rect">
              <a:avLst/>
            </a:prstGeom>
          </p:spPr>
          <p:txBody>
            <a:bodyPr/>
            <a:lstStyle>
              <a:lvl1pPr marL="219075" indent="-219075" algn="l" rtl="0" eaLnBrk="1" fontAlgn="base" hangingPunct="1">
                <a:lnSpc>
                  <a:spcPct val="110000"/>
                </a:lnSpc>
                <a:spcBef>
                  <a:spcPts val="1200"/>
                </a:spcBef>
                <a:spcAft>
                  <a:spcPts val="500"/>
                </a:spcAft>
                <a:buClr>
                  <a:schemeClr val="bg1">
                    <a:lumMod val="65000"/>
                  </a:schemeClr>
                </a:buClr>
                <a:buSzPct val="100000"/>
                <a:buFont typeface="Webdings" pitchFamily="18" charset="2"/>
                <a:buChar char="4"/>
                <a:defRPr sz="2000">
                  <a:solidFill>
                    <a:schemeClr val="tx1"/>
                  </a:solidFill>
                  <a:latin typeface="+mn-lt"/>
                  <a:ea typeface="+mn-ea"/>
                  <a:cs typeface="+mn-cs"/>
                </a:defRPr>
              </a:lvl1pPr>
              <a:lvl2pPr marL="561975" indent="-209550" algn="l" rtl="0" eaLnBrk="1" fontAlgn="base" hangingPunct="1">
                <a:lnSpc>
                  <a:spcPct val="110000"/>
                </a:lnSpc>
                <a:spcBef>
                  <a:spcPts val="300"/>
                </a:spcBef>
                <a:spcAft>
                  <a:spcPts val="300"/>
                </a:spcAft>
                <a:buClr>
                  <a:schemeClr val="tx1">
                    <a:lumMod val="50000"/>
                    <a:lumOff val="50000"/>
                  </a:schemeClr>
                </a:buClr>
                <a:buSzPct val="117000"/>
                <a:buFont typeface="Lucida Grande"/>
                <a:buChar char="-"/>
                <a:defRPr sz="1800">
                  <a:solidFill>
                    <a:schemeClr val="tx1"/>
                  </a:solidFill>
                  <a:latin typeface="+mn-lt"/>
                  <a:cs typeface="+mn-cs"/>
                </a:defRPr>
              </a:lvl2pPr>
              <a:lvl3pPr marL="771525" indent="-171450" algn="l" rtl="0" eaLnBrk="1" fontAlgn="base" hangingPunct="1">
                <a:lnSpc>
                  <a:spcPct val="110000"/>
                </a:lnSpc>
                <a:spcBef>
                  <a:spcPts val="300"/>
                </a:spcBef>
                <a:spcAft>
                  <a:spcPts val="300"/>
                </a:spcAft>
                <a:buClr>
                  <a:schemeClr val="tx1">
                    <a:lumMod val="50000"/>
                    <a:lumOff val="50000"/>
                  </a:schemeClr>
                </a:buClr>
                <a:buSzPct val="110000"/>
                <a:buFont typeface="Lucida Grande"/>
                <a:buChar char="-"/>
                <a:defRPr lang="en-US" altLang="en-US" sz="1800" dirty="0" smtClean="0">
                  <a:solidFill>
                    <a:schemeClr val="tx1"/>
                  </a:solidFill>
                  <a:latin typeface="+mn-lt"/>
                  <a:cs typeface="+mn-cs"/>
                </a:defRPr>
              </a:lvl3pPr>
              <a:lvl4pPr marL="1071563" indent="-214313" algn="l" rtl="0" eaLnBrk="1" fontAlgn="base" hangingPunct="1">
                <a:lnSpc>
                  <a:spcPct val="110000"/>
                </a:lnSpc>
                <a:spcBef>
                  <a:spcPts val="225"/>
                </a:spcBef>
                <a:spcAft>
                  <a:spcPts val="225"/>
                </a:spcAft>
                <a:buClr>
                  <a:schemeClr val="tx1">
                    <a:lumMod val="75000"/>
                    <a:lumOff val="25000"/>
                  </a:schemeClr>
                </a:buClr>
                <a:buSzPct val="110000"/>
                <a:buFont typeface="Lucida Grande"/>
                <a:buChar char="-"/>
                <a:defRPr sz="1800" baseline="0">
                  <a:solidFill>
                    <a:schemeClr val="tx1"/>
                  </a:solidFill>
                  <a:latin typeface="+mn-lt"/>
                  <a:cs typeface="+mn-cs"/>
                </a:defRPr>
              </a:lvl4pPr>
              <a:lvl5pPr marL="1246585" indent="-170260" algn="l" rtl="0" eaLnBrk="1" fontAlgn="base" hangingPunct="1">
                <a:lnSpc>
                  <a:spcPct val="110000"/>
                </a:lnSpc>
                <a:spcBef>
                  <a:spcPts val="225"/>
                </a:spcBef>
                <a:spcAft>
                  <a:spcPts val="225"/>
                </a:spcAft>
                <a:buClr>
                  <a:schemeClr val="tx1">
                    <a:lumMod val="75000"/>
                    <a:lumOff val="25000"/>
                  </a:schemeClr>
                </a:buClr>
                <a:buSzPct val="110000"/>
                <a:buFont typeface="Arial Black" pitchFamily="34" charset="0"/>
                <a:buChar char="–"/>
                <a:defRPr sz="1800">
                  <a:solidFill>
                    <a:schemeClr val="tx1"/>
                  </a:solidFill>
                  <a:latin typeface="+mn-lt"/>
                  <a:cs typeface="+mn-cs"/>
                </a:defRPr>
              </a:lvl5pPr>
              <a:lvl6pPr marL="1541860" indent="-236935" algn="l" rtl="0" eaLnBrk="1" fontAlgn="base" hangingPunct="1">
                <a:spcBef>
                  <a:spcPct val="20000"/>
                </a:spcBef>
                <a:spcAft>
                  <a:spcPct val="0"/>
                </a:spcAft>
                <a:buClr>
                  <a:schemeClr val="folHlink"/>
                </a:buClr>
                <a:buSzPct val="80000"/>
                <a:buFont typeface="Wingdings" pitchFamily="2" charset="2"/>
                <a:buChar char="§"/>
                <a:defRPr sz="1500">
                  <a:solidFill>
                    <a:schemeClr val="tx1"/>
                  </a:solidFill>
                  <a:latin typeface="+mn-lt"/>
                  <a:cs typeface="+mn-cs"/>
                </a:defRPr>
              </a:lvl6pPr>
              <a:lvl7pPr marL="1884760" indent="-236935" algn="l" rtl="0" eaLnBrk="1" fontAlgn="base" hangingPunct="1">
                <a:spcBef>
                  <a:spcPct val="20000"/>
                </a:spcBef>
                <a:spcAft>
                  <a:spcPct val="0"/>
                </a:spcAft>
                <a:buClr>
                  <a:schemeClr val="folHlink"/>
                </a:buClr>
                <a:buSzPct val="80000"/>
                <a:buFont typeface="Wingdings" pitchFamily="2" charset="2"/>
                <a:buChar char="§"/>
                <a:defRPr sz="1500">
                  <a:solidFill>
                    <a:schemeClr val="tx1"/>
                  </a:solidFill>
                  <a:latin typeface="+mn-lt"/>
                  <a:cs typeface="+mn-cs"/>
                </a:defRPr>
              </a:lvl7pPr>
              <a:lvl8pPr marL="2227660" indent="-236935" algn="l" rtl="0" eaLnBrk="1" fontAlgn="base" hangingPunct="1">
                <a:spcBef>
                  <a:spcPct val="20000"/>
                </a:spcBef>
                <a:spcAft>
                  <a:spcPct val="0"/>
                </a:spcAft>
                <a:buClr>
                  <a:schemeClr val="folHlink"/>
                </a:buClr>
                <a:buSzPct val="80000"/>
                <a:buFont typeface="Wingdings" pitchFamily="2" charset="2"/>
                <a:buChar char="§"/>
                <a:defRPr sz="1500">
                  <a:solidFill>
                    <a:schemeClr val="tx1"/>
                  </a:solidFill>
                  <a:latin typeface="+mn-lt"/>
                  <a:cs typeface="+mn-cs"/>
                </a:defRPr>
              </a:lvl8pPr>
              <a:lvl9pPr marL="2570560" indent="-236935" algn="l" rtl="0" eaLnBrk="1" fontAlgn="base" hangingPunct="1">
                <a:spcBef>
                  <a:spcPct val="20000"/>
                </a:spcBef>
                <a:spcAft>
                  <a:spcPct val="0"/>
                </a:spcAft>
                <a:buClr>
                  <a:schemeClr val="folHlink"/>
                </a:buClr>
                <a:buSzPct val="80000"/>
                <a:buFont typeface="Wingdings" pitchFamily="2" charset="2"/>
                <a:buChar char="§"/>
                <a:defRPr sz="1500">
                  <a:solidFill>
                    <a:schemeClr val="tx1"/>
                  </a:solidFill>
                  <a:latin typeface="+mn-lt"/>
                  <a:cs typeface="+mn-cs"/>
                </a:defRPr>
              </a:lvl9pPr>
            </a:lstStyle>
            <a:p>
              <a:pPr marL="0" indent="0">
                <a:spcBef>
                  <a:spcPts val="1000"/>
                </a:spcBef>
                <a:spcAft>
                  <a:spcPts val="1000"/>
                </a:spcAft>
                <a:buFont typeface="Webdings" pitchFamily="18" charset="2"/>
                <a:buNone/>
              </a:pPr>
              <a:r>
                <a:rPr lang="en-US" sz="1100" b="1" kern="0" dirty="0"/>
                <a:t>IP Iteration</a:t>
              </a:r>
            </a:p>
          </p:txBody>
        </p:sp>
        <p:sp>
          <p:nvSpPr>
            <p:cNvPr id="37" name="Oval 36">
              <a:extLst>
                <a:ext uri="{FF2B5EF4-FFF2-40B4-BE49-F238E27FC236}">
                  <a16:creationId xmlns:a16="http://schemas.microsoft.com/office/drawing/2014/main" id="{13BC7057-D01B-344D-8BD5-7A9B9D803438}"/>
                </a:ext>
              </a:extLst>
            </p:cNvPr>
            <p:cNvSpPr/>
            <p:nvPr/>
          </p:nvSpPr>
          <p:spPr bwMode="auto">
            <a:xfrm>
              <a:off x="4779667" y="4314935"/>
              <a:ext cx="274320" cy="274320"/>
            </a:xfrm>
            <a:prstGeom prst="ellipse">
              <a:avLst/>
            </a:prstGeom>
            <a:solidFill>
              <a:schemeClr val="accent2"/>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eaLnBrk="0" hangingPunct="0">
                <a:spcBef>
                  <a:spcPct val="20000"/>
                </a:spcBef>
              </a:pPr>
              <a:r>
                <a:rPr lang="en-US" sz="1200" dirty="0">
                  <a:solidFill>
                    <a:schemeClr val="bg1"/>
                  </a:solidFill>
                </a:rPr>
                <a:t>8</a:t>
              </a:r>
            </a:p>
          </p:txBody>
        </p:sp>
        <p:cxnSp>
          <p:nvCxnSpPr>
            <p:cNvPr id="38" name="Straight Connector 37">
              <a:extLst>
                <a:ext uri="{FF2B5EF4-FFF2-40B4-BE49-F238E27FC236}">
                  <a16:creationId xmlns:a16="http://schemas.microsoft.com/office/drawing/2014/main" id="{2C2FF1D1-BE71-064D-BCE8-3426151C0F11}"/>
                </a:ext>
              </a:extLst>
            </p:cNvPr>
            <p:cNvCxnSpPr/>
            <p:nvPr/>
          </p:nvCxnSpPr>
          <p:spPr bwMode="auto">
            <a:xfrm flipH="1">
              <a:off x="4916827" y="3588615"/>
              <a:ext cx="9233" cy="728153"/>
            </a:xfrm>
            <a:prstGeom prst="line">
              <a:avLst/>
            </a:prstGeom>
            <a:solidFill>
              <a:schemeClr val="accent1"/>
            </a:solidFill>
            <a:ln w="19050" cap="flat" cmpd="sng" algn="ctr">
              <a:solidFill>
                <a:schemeClr val="accent2"/>
              </a:solidFill>
              <a:prstDash val="solid"/>
              <a:round/>
              <a:headEnd type="oval" w="med" len="med"/>
              <a:tailEnd type="none" w="med" len="med"/>
            </a:ln>
            <a:effectLst/>
          </p:spPr>
        </p:cxnSp>
      </p:grpSp>
      <p:grpSp>
        <p:nvGrpSpPr>
          <p:cNvPr id="39" name="Group 38">
            <a:extLst>
              <a:ext uri="{FF2B5EF4-FFF2-40B4-BE49-F238E27FC236}">
                <a16:creationId xmlns:a16="http://schemas.microsoft.com/office/drawing/2014/main" id="{37926089-CFB2-E648-AB04-4BA524EEB995}"/>
              </a:ext>
            </a:extLst>
          </p:cNvPr>
          <p:cNvGrpSpPr/>
          <p:nvPr/>
        </p:nvGrpSpPr>
        <p:grpSpPr>
          <a:xfrm>
            <a:off x="6564679" y="2860740"/>
            <a:ext cx="2487882" cy="513589"/>
            <a:chOff x="6564679" y="2860740"/>
            <a:chExt cx="2487882" cy="513589"/>
          </a:xfrm>
        </p:grpSpPr>
        <p:sp>
          <p:nvSpPr>
            <p:cNvPr id="40" name="Content Placeholder 2">
              <a:extLst>
                <a:ext uri="{FF2B5EF4-FFF2-40B4-BE49-F238E27FC236}">
                  <a16:creationId xmlns:a16="http://schemas.microsoft.com/office/drawing/2014/main" id="{5D039AF6-8093-4842-8A7B-E3A2E2C86BE3}"/>
                </a:ext>
              </a:extLst>
            </p:cNvPr>
            <p:cNvSpPr txBox="1">
              <a:spLocks/>
            </p:cNvSpPr>
            <p:nvPr/>
          </p:nvSpPr>
          <p:spPr>
            <a:xfrm>
              <a:off x="7949887" y="3043432"/>
              <a:ext cx="1102674" cy="330897"/>
            </a:xfrm>
            <a:prstGeom prst="rect">
              <a:avLst/>
            </a:prstGeom>
          </p:spPr>
          <p:txBody>
            <a:bodyPr/>
            <a:lstStyle>
              <a:lvl1pPr marL="219075" indent="-219075" algn="l" rtl="0" eaLnBrk="1" fontAlgn="base" hangingPunct="1">
                <a:lnSpc>
                  <a:spcPct val="110000"/>
                </a:lnSpc>
                <a:spcBef>
                  <a:spcPts val="1200"/>
                </a:spcBef>
                <a:spcAft>
                  <a:spcPts val="500"/>
                </a:spcAft>
                <a:buClr>
                  <a:schemeClr val="bg1">
                    <a:lumMod val="65000"/>
                  </a:schemeClr>
                </a:buClr>
                <a:buSzPct val="100000"/>
                <a:buFont typeface="Webdings" pitchFamily="18" charset="2"/>
                <a:buChar char="4"/>
                <a:defRPr sz="2000">
                  <a:solidFill>
                    <a:schemeClr val="tx1"/>
                  </a:solidFill>
                  <a:latin typeface="+mn-lt"/>
                  <a:ea typeface="+mn-ea"/>
                  <a:cs typeface="+mn-cs"/>
                </a:defRPr>
              </a:lvl1pPr>
              <a:lvl2pPr marL="561975" indent="-209550" algn="l" rtl="0" eaLnBrk="1" fontAlgn="base" hangingPunct="1">
                <a:lnSpc>
                  <a:spcPct val="110000"/>
                </a:lnSpc>
                <a:spcBef>
                  <a:spcPts val="300"/>
                </a:spcBef>
                <a:spcAft>
                  <a:spcPts val="300"/>
                </a:spcAft>
                <a:buClr>
                  <a:schemeClr val="tx1">
                    <a:lumMod val="50000"/>
                    <a:lumOff val="50000"/>
                  </a:schemeClr>
                </a:buClr>
                <a:buSzPct val="117000"/>
                <a:buFont typeface="Lucida Grande"/>
                <a:buChar char="-"/>
                <a:defRPr sz="1800">
                  <a:solidFill>
                    <a:schemeClr val="tx1"/>
                  </a:solidFill>
                  <a:latin typeface="+mn-lt"/>
                  <a:cs typeface="+mn-cs"/>
                </a:defRPr>
              </a:lvl2pPr>
              <a:lvl3pPr marL="771525" indent="-171450" algn="l" rtl="0" eaLnBrk="1" fontAlgn="base" hangingPunct="1">
                <a:lnSpc>
                  <a:spcPct val="110000"/>
                </a:lnSpc>
                <a:spcBef>
                  <a:spcPts val="300"/>
                </a:spcBef>
                <a:spcAft>
                  <a:spcPts val="300"/>
                </a:spcAft>
                <a:buClr>
                  <a:schemeClr val="tx1">
                    <a:lumMod val="50000"/>
                    <a:lumOff val="50000"/>
                  </a:schemeClr>
                </a:buClr>
                <a:buSzPct val="110000"/>
                <a:buFont typeface="Lucida Grande"/>
                <a:buChar char="-"/>
                <a:defRPr lang="en-US" altLang="en-US" sz="1800" dirty="0" smtClean="0">
                  <a:solidFill>
                    <a:schemeClr val="tx1"/>
                  </a:solidFill>
                  <a:latin typeface="+mn-lt"/>
                  <a:cs typeface="+mn-cs"/>
                </a:defRPr>
              </a:lvl3pPr>
              <a:lvl4pPr marL="1071563" indent="-214313" algn="l" rtl="0" eaLnBrk="1" fontAlgn="base" hangingPunct="1">
                <a:lnSpc>
                  <a:spcPct val="110000"/>
                </a:lnSpc>
                <a:spcBef>
                  <a:spcPts val="225"/>
                </a:spcBef>
                <a:spcAft>
                  <a:spcPts val="225"/>
                </a:spcAft>
                <a:buClr>
                  <a:schemeClr val="tx1">
                    <a:lumMod val="75000"/>
                    <a:lumOff val="25000"/>
                  </a:schemeClr>
                </a:buClr>
                <a:buSzPct val="110000"/>
                <a:buFont typeface="Lucida Grande"/>
                <a:buChar char="-"/>
                <a:defRPr sz="1800" baseline="0">
                  <a:solidFill>
                    <a:schemeClr val="tx1"/>
                  </a:solidFill>
                  <a:latin typeface="+mn-lt"/>
                  <a:cs typeface="+mn-cs"/>
                </a:defRPr>
              </a:lvl4pPr>
              <a:lvl5pPr marL="1246585" indent="-170260" algn="l" rtl="0" eaLnBrk="1" fontAlgn="base" hangingPunct="1">
                <a:lnSpc>
                  <a:spcPct val="110000"/>
                </a:lnSpc>
                <a:spcBef>
                  <a:spcPts val="225"/>
                </a:spcBef>
                <a:spcAft>
                  <a:spcPts val="225"/>
                </a:spcAft>
                <a:buClr>
                  <a:schemeClr val="tx1">
                    <a:lumMod val="75000"/>
                    <a:lumOff val="25000"/>
                  </a:schemeClr>
                </a:buClr>
                <a:buSzPct val="110000"/>
                <a:buFont typeface="Arial Black" pitchFamily="34" charset="0"/>
                <a:buChar char="–"/>
                <a:defRPr sz="1800">
                  <a:solidFill>
                    <a:schemeClr val="tx1"/>
                  </a:solidFill>
                  <a:latin typeface="+mn-lt"/>
                  <a:cs typeface="+mn-cs"/>
                </a:defRPr>
              </a:lvl5pPr>
              <a:lvl6pPr marL="1541860" indent="-236935" algn="l" rtl="0" eaLnBrk="1" fontAlgn="base" hangingPunct="1">
                <a:spcBef>
                  <a:spcPct val="20000"/>
                </a:spcBef>
                <a:spcAft>
                  <a:spcPct val="0"/>
                </a:spcAft>
                <a:buClr>
                  <a:schemeClr val="folHlink"/>
                </a:buClr>
                <a:buSzPct val="80000"/>
                <a:buFont typeface="Wingdings" pitchFamily="2" charset="2"/>
                <a:buChar char="§"/>
                <a:defRPr sz="1500">
                  <a:solidFill>
                    <a:schemeClr val="tx1"/>
                  </a:solidFill>
                  <a:latin typeface="+mn-lt"/>
                  <a:cs typeface="+mn-cs"/>
                </a:defRPr>
              </a:lvl6pPr>
              <a:lvl7pPr marL="1884760" indent="-236935" algn="l" rtl="0" eaLnBrk="1" fontAlgn="base" hangingPunct="1">
                <a:spcBef>
                  <a:spcPct val="20000"/>
                </a:spcBef>
                <a:spcAft>
                  <a:spcPct val="0"/>
                </a:spcAft>
                <a:buClr>
                  <a:schemeClr val="folHlink"/>
                </a:buClr>
                <a:buSzPct val="80000"/>
                <a:buFont typeface="Wingdings" pitchFamily="2" charset="2"/>
                <a:buChar char="§"/>
                <a:defRPr sz="1500">
                  <a:solidFill>
                    <a:schemeClr val="tx1"/>
                  </a:solidFill>
                  <a:latin typeface="+mn-lt"/>
                  <a:cs typeface="+mn-cs"/>
                </a:defRPr>
              </a:lvl7pPr>
              <a:lvl8pPr marL="2227660" indent="-236935" algn="l" rtl="0" eaLnBrk="1" fontAlgn="base" hangingPunct="1">
                <a:spcBef>
                  <a:spcPct val="20000"/>
                </a:spcBef>
                <a:spcAft>
                  <a:spcPct val="0"/>
                </a:spcAft>
                <a:buClr>
                  <a:schemeClr val="folHlink"/>
                </a:buClr>
                <a:buSzPct val="80000"/>
                <a:buFont typeface="Wingdings" pitchFamily="2" charset="2"/>
                <a:buChar char="§"/>
                <a:defRPr sz="1500">
                  <a:solidFill>
                    <a:schemeClr val="tx1"/>
                  </a:solidFill>
                  <a:latin typeface="+mn-lt"/>
                  <a:cs typeface="+mn-cs"/>
                </a:defRPr>
              </a:lvl8pPr>
              <a:lvl9pPr marL="2570560" indent="-236935" algn="l" rtl="0" eaLnBrk="1" fontAlgn="base" hangingPunct="1">
                <a:spcBef>
                  <a:spcPct val="20000"/>
                </a:spcBef>
                <a:spcAft>
                  <a:spcPct val="0"/>
                </a:spcAft>
                <a:buClr>
                  <a:schemeClr val="folHlink"/>
                </a:buClr>
                <a:buSzPct val="80000"/>
                <a:buFont typeface="Wingdings" pitchFamily="2" charset="2"/>
                <a:buChar char="§"/>
                <a:defRPr sz="1500">
                  <a:solidFill>
                    <a:schemeClr val="tx1"/>
                  </a:solidFill>
                  <a:latin typeface="+mn-lt"/>
                  <a:cs typeface="+mn-cs"/>
                </a:defRPr>
              </a:lvl9pPr>
            </a:lstStyle>
            <a:p>
              <a:pPr marL="0" indent="0">
                <a:spcBef>
                  <a:spcPts val="1000"/>
                </a:spcBef>
                <a:spcAft>
                  <a:spcPts val="1000"/>
                </a:spcAft>
                <a:buFont typeface="Webdings" pitchFamily="18" charset="2"/>
                <a:buNone/>
              </a:pPr>
              <a:r>
                <a:rPr lang="en-US" sz="1100" b="1" kern="0" dirty="0"/>
                <a:t>Architectural Runway</a:t>
              </a:r>
            </a:p>
          </p:txBody>
        </p:sp>
        <p:sp>
          <p:nvSpPr>
            <p:cNvPr id="41" name="Oval 40">
              <a:extLst>
                <a:ext uri="{FF2B5EF4-FFF2-40B4-BE49-F238E27FC236}">
                  <a16:creationId xmlns:a16="http://schemas.microsoft.com/office/drawing/2014/main" id="{8208AC73-A684-2841-9586-265591B79110}"/>
                </a:ext>
              </a:extLst>
            </p:cNvPr>
            <p:cNvSpPr/>
            <p:nvPr/>
          </p:nvSpPr>
          <p:spPr bwMode="auto">
            <a:xfrm>
              <a:off x="7703177" y="3088965"/>
              <a:ext cx="274320" cy="274320"/>
            </a:xfrm>
            <a:prstGeom prst="ellipse">
              <a:avLst/>
            </a:prstGeom>
            <a:solidFill>
              <a:schemeClr val="accent2"/>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eaLnBrk="0" hangingPunct="0">
                <a:spcBef>
                  <a:spcPct val="20000"/>
                </a:spcBef>
              </a:pPr>
              <a:r>
                <a:rPr lang="en-US" sz="1200" dirty="0">
                  <a:solidFill>
                    <a:schemeClr val="bg1"/>
                  </a:solidFill>
                </a:rPr>
                <a:t>9</a:t>
              </a:r>
            </a:p>
          </p:txBody>
        </p:sp>
        <p:cxnSp>
          <p:nvCxnSpPr>
            <p:cNvPr id="42" name="Straight Connector 41">
              <a:extLst>
                <a:ext uri="{FF2B5EF4-FFF2-40B4-BE49-F238E27FC236}">
                  <a16:creationId xmlns:a16="http://schemas.microsoft.com/office/drawing/2014/main" id="{86D54AA8-17C2-DF42-9BA5-C688FBD2A6CF}"/>
                </a:ext>
              </a:extLst>
            </p:cNvPr>
            <p:cNvCxnSpPr>
              <a:endCxn id="41" idx="2"/>
            </p:cNvCxnSpPr>
            <p:nvPr/>
          </p:nvCxnSpPr>
          <p:spPr bwMode="auto">
            <a:xfrm>
              <a:off x="6564679" y="2860740"/>
              <a:ext cx="1138498" cy="365385"/>
            </a:xfrm>
            <a:prstGeom prst="line">
              <a:avLst/>
            </a:prstGeom>
            <a:solidFill>
              <a:schemeClr val="accent1"/>
            </a:solidFill>
            <a:ln w="19050" cap="flat" cmpd="sng" algn="ctr">
              <a:solidFill>
                <a:schemeClr val="accent2"/>
              </a:solidFill>
              <a:prstDash val="solid"/>
              <a:round/>
              <a:headEnd type="oval" w="med" len="med"/>
              <a:tailEnd type="none" w="med" len="med"/>
            </a:ln>
            <a:effectLst/>
          </p:spPr>
        </p:cxnSp>
      </p:grpSp>
      <p:grpSp>
        <p:nvGrpSpPr>
          <p:cNvPr id="44" name="Group 43">
            <a:extLst>
              <a:ext uri="{FF2B5EF4-FFF2-40B4-BE49-F238E27FC236}">
                <a16:creationId xmlns:a16="http://schemas.microsoft.com/office/drawing/2014/main" id="{6333E30D-7D33-5E4A-B90A-D71245B98C22}"/>
              </a:ext>
            </a:extLst>
          </p:cNvPr>
          <p:cNvGrpSpPr/>
          <p:nvPr/>
        </p:nvGrpSpPr>
        <p:grpSpPr>
          <a:xfrm>
            <a:off x="1149811" y="4013200"/>
            <a:ext cx="1306017" cy="595520"/>
            <a:chOff x="1149811" y="4013200"/>
            <a:chExt cx="1306017" cy="595520"/>
          </a:xfrm>
        </p:grpSpPr>
        <p:sp>
          <p:nvSpPr>
            <p:cNvPr id="45" name="Content Placeholder 2">
              <a:extLst>
                <a:ext uri="{FF2B5EF4-FFF2-40B4-BE49-F238E27FC236}">
                  <a16:creationId xmlns:a16="http://schemas.microsoft.com/office/drawing/2014/main" id="{5C545132-AC82-464C-BB2D-F939B8F844A9}"/>
                </a:ext>
              </a:extLst>
            </p:cNvPr>
            <p:cNvSpPr txBox="1">
              <a:spLocks/>
            </p:cNvSpPr>
            <p:nvPr/>
          </p:nvSpPr>
          <p:spPr>
            <a:xfrm>
              <a:off x="1149811" y="4247971"/>
              <a:ext cx="1073179" cy="330897"/>
            </a:xfrm>
            <a:prstGeom prst="rect">
              <a:avLst/>
            </a:prstGeom>
          </p:spPr>
          <p:txBody>
            <a:bodyPr/>
            <a:lstStyle>
              <a:lvl1pPr marL="219075" indent="-219075" algn="l" rtl="0" eaLnBrk="1" fontAlgn="base" hangingPunct="1">
                <a:lnSpc>
                  <a:spcPct val="110000"/>
                </a:lnSpc>
                <a:spcBef>
                  <a:spcPts val="1200"/>
                </a:spcBef>
                <a:spcAft>
                  <a:spcPts val="500"/>
                </a:spcAft>
                <a:buClr>
                  <a:schemeClr val="bg1">
                    <a:lumMod val="65000"/>
                  </a:schemeClr>
                </a:buClr>
                <a:buSzPct val="100000"/>
                <a:buFont typeface="Webdings" pitchFamily="18" charset="2"/>
                <a:buChar char="4"/>
                <a:defRPr sz="2000">
                  <a:solidFill>
                    <a:schemeClr val="tx1"/>
                  </a:solidFill>
                  <a:latin typeface="+mn-lt"/>
                  <a:ea typeface="+mn-ea"/>
                  <a:cs typeface="+mn-cs"/>
                </a:defRPr>
              </a:lvl1pPr>
              <a:lvl2pPr marL="561975" indent="-209550" algn="l" rtl="0" eaLnBrk="1" fontAlgn="base" hangingPunct="1">
                <a:lnSpc>
                  <a:spcPct val="110000"/>
                </a:lnSpc>
                <a:spcBef>
                  <a:spcPts val="300"/>
                </a:spcBef>
                <a:spcAft>
                  <a:spcPts val="300"/>
                </a:spcAft>
                <a:buClr>
                  <a:schemeClr val="tx1">
                    <a:lumMod val="50000"/>
                    <a:lumOff val="50000"/>
                  </a:schemeClr>
                </a:buClr>
                <a:buSzPct val="117000"/>
                <a:buFont typeface="Lucida Grande"/>
                <a:buChar char="-"/>
                <a:defRPr sz="1800">
                  <a:solidFill>
                    <a:schemeClr val="tx1"/>
                  </a:solidFill>
                  <a:latin typeface="+mn-lt"/>
                  <a:cs typeface="+mn-cs"/>
                </a:defRPr>
              </a:lvl2pPr>
              <a:lvl3pPr marL="771525" indent="-171450" algn="l" rtl="0" eaLnBrk="1" fontAlgn="base" hangingPunct="1">
                <a:lnSpc>
                  <a:spcPct val="110000"/>
                </a:lnSpc>
                <a:spcBef>
                  <a:spcPts val="300"/>
                </a:spcBef>
                <a:spcAft>
                  <a:spcPts val="300"/>
                </a:spcAft>
                <a:buClr>
                  <a:schemeClr val="tx1">
                    <a:lumMod val="50000"/>
                    <a:lumOff val="50000"/>
                  </a:schemeClr>
                </a:buClr>
                <a:buSzPct val="110000"/>
                <a:buFont typeface="Lucida Grande"/>
                <a:buChar char="-"/>
                <a:defRPr lang="en-US" altLang="en-US" sz="1800" dirty="0" smtClean="0">
                  <a:solidFill>
                    <a:schemeClr val="tx1"/>
                  </a:solidFill>
                  <a:latin typeface="+mn-lt"/>
                  <a:cs typeface="+mn-cs"/>
                </a:defRPr>
              </a:lvl3pPr>
              <a:lvl4pPr marL="1071563" indent="-214313" algn="l" rtl="0" eaLnBrk="1" fontAlgn="base" hangingPunct="1">
                <a:lnSpc>
                  <a:spcPct val="110000"/>
                </a:lnSpc>
                <a:spcBef>
                  <a:spcPts val="225"/>
                </a:spcBef>
                <a:spcAft>
                  <a:spcPts val="225"/>
                </a:spcAft>
                <a:buClr>
                  <a:schemeClr val="tx1">
                    <a:lumMod val="75000"/>
                    <a:lumOff val="25000"/>
                  </a:schemeClr>
                </a:buClr>
                <a:buSzPct val="110000"/>
                <a:buFont typeface="Lucida Grande"/>
                <a:buChar char="-"/>
                <a:defRPr sz="1800" baseline="0">
                  <a:solidFill>
                    <a:schemeClr val="tx1"/>
                  </a:solidFill>
                  <a:latin typeface="+mn-lt"/>
                  <a:cs typeface="+mn-cs"/>
                </a:defRPr>
              </a:lvl4pPr>
              <a:lvl5pPr marL="1246585" indent="-170260" algn="l" rtl="0" eaLnBrk="1" fontAlgn="base" hangingPunct="1">
                <a:lnSpc>
                  <a:spcPct val="110000"/>
                </a:lnSpc>
                <a:spcBef>
                  <a:spcPts val="225"/>
                </a:spcBef>
                <a:spcAft>
                  <a:spcPts val="225"/>
                </a:spcAft>
                <a:buClr>
                  <a:schemeClr val="tx1">
                    <a:lumMod val="75000"/>
                    <a:lumOff val="25000"/>
                  </a:schemeClr>
                </a:buClr>
                <a:buSzPct val="110000"/>
                <a:buFont typeface="Arial Black" pitchFamily="34" charset="0"/>
                <a:buChar char="–"/>
                <a:defRPr sz="1800">
                  <a:solidFill>
                    <a:schemeClr val="tx1"/>
                  </a:solidFill>
                  <a:latin typeface="+mn-lt"/>
                  <a:cs typeface="+mn-cs"/>
                </a:defRPr>
              </a:lvl5pPr>
              <a:lvl6pPr marL="1541860" indent="-236935" algn="l" rtl="0" eaLnBrk="1" fontAlgn="base" hangingPunct="1">
                <a:spcBef>
                  <a:spcPct val="20000"/>
                </a:spcBef>
                <a:spcAft>
                  <a:spcPct val="0"/>
                </a:spcAft>
                <a:buClr>
                  <a:schemeClr val="folHlink"/>
                </a:buClr>
                <a:buSzPct val="80000"/>
                <a:buFont typeface="Wingdings" pitchFamily="2" charset="2"/>
                <a:buChar char="§"/>
                <a:defRPr sz="1500">
                  <a:solidFill>
                    <a:schemeClr val="tx1"/>
                  </a:solidFill>
                  <a:latin typeface="+mn-lt"/>
                  <a:cs typeface="+mn-cs"/>
                </a:defRPr>
              </a:lvl6pPr>
              <a:lvl7pPr marL="1884760" indent="-236935" algn="l" rtl="0" eaLnBrk="1" fontAlgn="base" hangingPunct="1">
                <a:spcBef>
                  <a:spcPct val="20000"/>
                </a:spcBef>
                <a:spcAft>
                  <a:spcPct val="0"/>
                </a:spcAft>
                <a:buClr>
                  <a:schemeClr val="folHlink"/>
                </a:buClr>
                <a:buSzPct val="80000"/>
                <a:buFont typeface="Wingdings" pitchFamily="2" charset="2"/>
                <a:buChar char="§"/>
                <a:defRPr sz="1500">
                  <a:solidFill>
                    <a:schemeClr val="tx1"/>
                  </a:solidFill>
                  <a:latin typeface="+mn-lt"/>
                  <a:cs typeface="+mn-cs"/>
                </a:defRPr>
              </a:lvl7pPr>
              <a:lvl8pPr marL="2227660" indent="-236935" algn="l" rtl="0" eaLnBrk="1" fontAlgn="base" hangingPunct="1">
                <a:spcBef>
                  <a:spcPct val="20000"/>
                </a:spcBef>
                <a:spcAft>
                  <a:spcPct val="0"/>
                </a:spcAft>
                <a:buClr>
                  <a:schemeClr val="folHlink"/>
                </a:buClr>
                <a:buSzPct val="80000"/>
                <a:buFont typeface="Wingdings" pitchFamily="2" charset="2"/>
                <a:buChar char="§"/>
                <a:defRPr sz="1500">
                  <a:solidFill>
                    <a:schemeClr val="tx1"/>
                  </a:solidFill>
                  <a:latin typeface="+mn-lt"/>
                  <a:cs typeface="+mn-cs"/>
                </a:defRPr>
              </a:lvl8pPr>
              <a:lvl9pPr marL="2570560" indent="-236935" algn="l" rtl="0" eaLnBrk="1" fontAlgn="base" hangingPunct="1">
                <a:spcBef>
                  <a:spcPct val="20000"/>
                </a:spcBef>
                <a:spcAft>
                  <a:spcPct val="0"/>
                </a:spcAft>
                <a:buClr>
                  <a:schemeClr val="folHlink"/>
                </a:buClr>
                <a:buSzPct val="80000"/>
                <a:buFont typeface="Wingdings" pitchFamily="2" charset="2"/>
                <a:buChar char="§"/>
                <a:defRPr sz="1500">
                  <a:solidFill>
                    <a:schemeClr val="tx1"/>
                  </a:solidFill>
                  <a:latin typeface="+mn-lt"/>
                  <a:cs typeface="+mn-cs"/>
                </a:defRPr>
              </a:lvl9pPr>
            </a:lstStyle>
            <a:p>
              <a:pPr marL="0" indent="0" algn="r">
                <a:spcBef>
                  <a:spcPts val="1000"/>
                </a:spcBef>
                <a:spcAft>
                  <a:spcPts val="1000"/>
                </a:spcAft>
                <a:buFont typeface="Webdings" pitchFamily="18" charset="2"/>
                <a:buNone/>
              </a:pPr>
              <a:r>
                <a:rPr lang="en-US" sz="1100" b="1" kern="0" dirty="0"/>
                <a:t>Lean-Agile Leadership</a:t>
              </a:r>
            </a:p>
          </p:txBody>
        </p:sp>
        <p:sp>
          <p:nvSpPr>
            <p:cNvPr id="47" name="Oval 46">
              <a:extLst>
                <a:ext uri="{FF2B5EF4-FFF2-40B4-BE49-F238E27FC236}">
                  <a16:creationId xmlns:a16="http://schemas.microsoft.com/office/drawing/2014/main" id="{D0EF65FC-EC76-7B48-ACA7-93820F2F7BA8}"/>
                </a:ext>
              </a:extLst>
            </p:cNvPr>
            <p:cNvSpPr/>
            <p:nvPr/>
          </p:nvSpPr>
          <p:spPr bwMode="auto">
            <a:xfrm>
              <a:off x="2181508" y="4334400"/>
              <a:ext cx="274320" cy="274320"/>
            </a:xfrm>
            <a:prstGeom prst="ellipse">
              <a:avLst/>
            </a:prstGeom>
            <a:solidFill>
              <a:schemeClr val="accent2"/>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eaLnBrk="0" hangingPunct="0">
                <a:spcBef>
                  <a:spcPct val="20000"/>
                </a:spcBef>
              </a:pPr>
              <a:r>
                <a:rPr lang="en-US" sz="1200" dirty="0">
                  <a:solidFill>
                    <a:schemeClr val="bg1"/>
                  </a:solidFill>
                </a:rPr>
                <a:t>10</a:t>
              </a:r>
            </a:p>
          </p:txBody>
        </p:sp>
        <p:cxnSp>
          <p:nvCxnSpPr>
            <p:cNvPr id="48" name="Straight Connector 47">
              <a:extLst>
                <a:ext uri="{FF2B5EF4-FFF2-40B4-BE49-F238E27FC236}">
                  <a16:creationId xmlns:a16="http://schemas.microsoft.com/office/drawing/2014/main" id="{824797DB-4A45-C04A-AAF8-C4AD440F93DA}"/>
                </a:ext>
              </a:extLst>
            </p:cNvPr>
            <p:cNvCxnSpPr>
              <a:endCxn id="47" idx="0"/>
            </p:cNvCxnSpPr>
            <p:nvPr/>
          </p:nvCxnSpPr>
          <p:spPr bwMode="auto">
            <a:xfrm flipH="1">
              <a:off x="2318668" y="4013200"/>
              <a:ext cx="67752" cy="321200"/>
            </a:xfrm>
            <a:prstGeom prst="line">
              <a:avLst/>
            </a:prstGeom>
            <a:solidFill>
              <a:schemeClr val="accent1"/>
            </a:solidFill>
            <a:ln w="19050" cap="flat" cmpd="sng" algn="ctr">
              <a:solidFill>
                <a:schemeClr val="accent2"/>
              </a:solidFill>
              <a:prstDash val="solid"/>
              <a:round/>
              <a:headEnd type="oval" w="med" len="med"/>
              <a:tailEnd type="none" w="med" len="med"/>
            </a:ln>
            <a:effectLst/>
          </p:spPr>
        </p:cxnSp>
      </p:grpSp>
    </p:spTree>
    <p:extLst>
      <p:ext uri="{BB962C8B-B14F-4D97-AF65-F5344CB8AC3E}">
        <p14:creationId xmlns:p14="http://schemas.microsoft.com/office/powerpoint/2010/main" val="2289167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1"/>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5"/>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39"/>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4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5">
            <a:duotone>
              <a:schemeClr val="accent4">
                <a:shade val="45000"/>
                <a:satMod val="135000"/>
              </a:schemeClr>
              <a:prstClr val="white"/>
            </a:duotone>
          </a:blip>
          <a:stretch>
            <a:fillRect/>
          </a:stretch>
        </p:blipFill>
        <p:spPr>
          <a:xfrm>
            <a:off x="1911803" y="2974695"/>
            <a:ext cx="438150" cy="1533525"/>
          </a:xfrm>
          <a:prstGeom prst="rect">
            <a:avLst/>
          </a:prstGeom>
        </p:spPr>
      </p:pic>
      <p:sp>
        <p:nvSpPr>
          <p:cNvPr id="3" name="Title 2"/>
          <p:cNvSpPr>
            <a:spLocks noGrp="1"/>
          </p:cNvSpPr>
          <p:nvPr>
            <p:ph type="title"/>
          </p:nvPr>
        </p:nvSpPr>
        <p:spPr/>
        <p:txBody>
          <a:bodyPr/>
          <a:lstStyle/>
          <a:p>
            <a:r>
              <a:rPr lang="en-US" dirty="0"/>
              <a:t>Nothing beats an Agile Team </a:t>
            </a:r>
          </a:p>
        </p:txBody>
      </p:sp>
      <p:sp>
        <p:nvSpPr>
          <p:cNvPr id="4" name="Content Placeholder 3"/>
          <p:cNvSpPr>
            <a:spLocks noGrp="1"/>
          </p:cNvSpPr>
          <p:nvPr>
            <p:ph idx="4294967295"/>
          </p:nvPr>
        </p:nvSpPr>
        <p:spPr>
          <a:xfrm>
            <a:off x="383722" y="839480"/>
            <a:ext cx="7712975" cy="1930014"/>
          </a:xfrm>
        </p:spPr>
        <p:txBody>
          <a:bodyPr/>
          <a:lstStyle/>
          <a:p>
            <a:pPr marL="257175" indent="-257175">
              <a:spcBef>
                <a:spcPts val="600"/>
              </a:spcBef>
              <a:spcAft>
                <a:spcPts val="600"/>
              </a:spcAft>
            </a:pPr>
            <a:r>
              <a:rPr lang="en-US" sz="1900" dirty="0"/>
              <a:t>Cross-functional, self-organizing — can </a:t>
            </a:r>
            <a:r>
              <a:rPr lang="en-US" sz="1900" dirty="0">
                <a:solidFill>
                  <a:schemeClr val="accent2"/>
                </a:solidFill>
              </a:rPr>
              <a:t>define, build,</a:t>
            </a:r>
            <a:r>
              <a:rPr lang="en-US" sz="1900" b="1" dirty="0"/>
              <a:t> </a:t>
            </a:r>
            <a:r>
              <a:rPr lang="en-US" sz="1900" dirty="0">
                <a:solidFill>
                  <a:schemeClr val="accent2"/>
                </a:solidFill>
              </a:rPr>
              <a:t>and test </a:t>
            </a:r>
            <a:r>
              <a:rPr lang="en-US" sz="1900" dirty="0"/>
              <a:t>valuable things</a:t>
            </a:r>
          </a:p>
          <a:p>
            <a:pPr marL="257175" indent="-257175">
              <a:spcBef>
                <a:spcPts val="600"/>
              </a:spcBef>
              <a:spcAft>
                <a:spcPts val="600"/>
              </a:spcAft>
            </a:pPr>
            <a:r>
              <a:rPr lang="en-US" sz="1900" dirty="0"/>
              <a:t>Applied Agile Software Engineering practices with XP, Scrum, </a:t>
            </a:r>
            <a:br>
              <a:rPr lang="en-US" sz="1900" dirty="0"/>
            </a:br>
            <a:r>
              <a:rPr lang="en-US" sz="1900" dirty="0"/>
              <a:t>and Kanban</a:t>
            </a:r>
          </a:p>
          <a:p>
            <a:pPr marL="257175" indent="-257175">
              <a:spcBef>
                <a:spcPts val="600"/>
              </a:spcBef>
              <a:spcAft>
                <a:spcPts val="600"/>
              </a:spcAft>
            </a:pPr>
            <a:r>
              <a:rPr lang="en-US" sz="1900" dirty="0"/>
              <a:t>Delivers value every two weeks</a:t>
            </a:r>
          </a:p>
        </p:txBody>
      </p:sp>
      <p:grpSp>
        <p:nvGrpSpPr>
          <p:cNvPr id="49" name="Group 131"/>
          <p:cNvGrpSpPr/>
          <p:nvPr/>
        </p:nvGrpSpPr>
        <p:grpSpPr>
          <a:xfrm>
            <a:off x="1319486" y="2971319"/>
            <a:ext cx="429368" cy="1520868"/>
            <a:chOff x="4288536" y="1755648"/>
            <a:chExt cx="838201" cy="3447668"/>
          </a:xfrm>
          <a:effectLst/>
        </p:grpSpPr>
        <p:sp>
          <p:nvSpPr>
            <p:cNvPr id="50" name="Rectangle 4"/>
            <p:cNvSpPr>
              <a:spLocks noChangeArrowheads="1"/>
            </p:cNvSpPr>
            <p:nvPr/>
          </p:nvSpPr>
          <p:spPr bwMode="auto">
            <a:xfrm>
              <a:off x="4288536" y="2213932"/>
              <a:ext cx="838200" cy="2989384"/>
            </a:xfrm>
            <a:prstGeom prst="rect">
              <a:avLst/>
            </a:prstGeom>
            <a:gradFill flip="none" rotWithShape="1">
              <a:gsLst>
                <a:gs pos="0">
                  <a:schemeClr val="accent2">
                    <a:lumMod val="50000"/>
                  </a:schemeClr>
                </a:gs>
                <a:gs pos="50000">
                  <a:schemeClr val="accent2">
                    <a:lumMod val="75000"/>
                  </a:schemeClr>
                </a:gs>
                <a:gs pos="100000">
                  <a:schemeClr val="accent2">
                    <a:lumMod val="50000"/>
                  </a:schemeClr>
                </a:gs>
              </a:gsLst>
              <a:lin ang="10800000" scaled="1"/>
              <a:tileRect/>
            </a:gradFill>
            <a:ln w="9525">
              <a:gradFill>
                <a:gsLst>
                  <a:gs pos="0">
                    <a:schemeClr val="accent2">
                      <a:lumMod val="50000"/>
                    </a:schemeClr>
                  </a:gs>
                  <a:gs pos="50000">
                    <a:schemeClr val="accent2">
                      <a:lumMod val="50000"/>
                    </a:schemeClr>
                  </a:gs>
                  <a:gs pos="100000">
                    <a:schemeClr val="accent2">
                      <a:lumMod val="75000"/>
                    </a:schemeClr>
                  </a:gs>
                </a:gsLst>
                <a:lin ang="5400000" scaled="0"/>
              </a:gradFill>
              <a:miter lim="800000"/>
              <a:headEnd/>
              <a:tailEnd/>
            </a:ln>
          </p:spPr>
          <p:txBody>
            <a:bodyPr vert="vert270" wrap="none" anchor="ctr"/>
            <a:lstStyle/>
            <a:p>
              <a:pPr algn="ctr"/>
              <a:endParaRPr lang="en-US" sz="1350" b="1" dirty="0">
                <a:ln>
                  <a:solidFill>
                    <a:schemeClr val="bg2">
                      <a:alpha val="2000"/>
                    </a:schemeClr>
                  </a:solidFill>
                </a:ln>
                <a:solidFill>
                  <a:schemeClr val="bg1"/>
                </a:solidFill>
                <a:effectLst>
                  <a:outerShdw blurRad="38100" dist="38100" dir="2700000" algn="tl">
                    <a:srgbClr val="000000">
                      <a:alpha val="43137"/>
                    </a:srgbClr>
                  </a:outerShdw>
                </a:effectLst>
              </a:endParaRPr>
            </a:p>
          </p:txBody>
        </p:sp>
        <p:grpSp>
          <p:nvGrpSpPr>
            <p:cNvPr id="51" name="Group 119"/>
            <p:cNvGrpSpPr/>
            <p:nvPr/>
          </p:nvGrpSpPr>
          <p:grpSpPr>
            <a:xfrm>
              <a:off x="4288536" y="1755648"/>
              <a:ext cx="838201" cy="450851"/>
              <a:chOff x="738186" y="1749424"/>
              <a:chExt cx="838201" cy="450851"/>
            </a:xfrm>
          </p:grpSpPr>
          <p:sp>
            <p:nvSpPr>
              <p:cNvPr id="52" name="Oval 3"/>
              <p:cNvSpPr>
                <a:spLocks noChangeArrowheads="1"/>
              </p:cNvSpPr>
              <p:nvPr/>
            </p:nvSpPr>
            <p:spPr bwMode="auto">
              <a:xfrm>
                <a:off x="738186" y="1752597"/>
                <a:ext cx="838201" cy="447678"/>
              </a:xfrm>
              <a:custGeom>
                <a:avLst/>
                <a:gdLst>
                  <a:gd name="connsiteX0" fmla="*/ 0 w 838200"/>
                  <a:gd name="connsiteY0" fmla="*/ 439616 h 879231"/>
                  <a:gd name="connsiteX1" fmla="*/ 115758 w 838200"/>
                  <a:gd name="connsiteY1" fmla="*/ 136274 h 879231"/>
                  <a:gd name="connsiteX2" fmla="*/ 419100 w 838200"/>
                  <a:gd name="connsiteY2" fmla="*/ 1 h 879231"/>
                  <a:gd name="connsiteX3" fmla="*/ 722442 w 838200"/>
                  <a:gd name="connsiteY3" fmla="*/ 136275 h 879231"/>
                  <a:gd name="connsiteX4" fmla="*/ 838199 w 838200"/>
                  <a:gd name="connsiteY4" fmla="*/ 439617 h 879231"/>
                  <a:gd name="connsiteX5" fmla="*/ 722441 w 838200"/>
                  <a:gd name="connsiteY5" fmla="*/ 742959 h 879231"/>
                  <a:gd name="connsiteX6" fmla="*/ 419099 w 838200"/>
                  <a:gd name="connsiteY6" fmla="*/ 879233 h 879231"/>
                  <a:gd name="connsiteX7" fmla="*/ 115757 w 838200"/>
                  <a:gd name="connsiteY7" fmla="*/ 742959 h 879231"/>
                  <a:gd name="connsiteX8" fmla="*/ -1 w 838200"/>
                  <a:gd name="connsiteY8" fmla="*/ 439617 h 879231"/>
                  <a:gd name="connsiteX9" fmla="*/ 0 w 838200"/>
                  <a:gd name="connsiteY9" fmla="*/ 439616 h 879231"/>
                  <a:gd name="connsiteX0" fmla="*/ 1 w 838201"/>
                  <a:gd name="connsiteY0" fmla="*/ 439616 h 793516"/>
                  <a:gd name="connsiteX1" fmla="*/ 115759 w 838201"/>
                  <a:gd name="connsiteY1" fmla="*/ 136274 h 793516"/>
                  <a:gd name="connsiteX2" fmla="*/ 419101 w 838201"/>
                  <a:gd name="connsiteY2" fmla="*/ 1 h 793516"/>
                  <a:gd name="connsiteX3" fmla="*/ 722443 w 838201"/>
                  <a:gd name="connsiteY3" fmla="*/ 136275 h 793516"/>
                  <a:gd name="connsiteX4" fmla="*/ 838200 w 838201"/>
                  <a:gd name="connsiteY4" fmla="*/ 439617 h 793516"/>
                  <a:gd name="connsiteX5" fmla="*/ 722442 w 838201"/>
                  <a:gd name="connsiteY5" fmla="*/ 742959 h 793516"/>
                  <a:gd name="connsiteX6" fmla="*/ 115758 w 838201"/>
                  <a:gd name="connsiteY6" fmla="*/ 742959 h 793516"/>
                  <a:gd name="connsiteX7" fmla="*/ 0 w 838201"/>
                  <a:gd name="connsiteY7" fmla="*/ 439617 h 793516"/>
                  <a:gd name="connsiteX8" fmla="*/ 1 w 838201"/>
                  <a:gd name="connsiteY8" fmla="*/ 439616 h 793516"/>
                  <a:gd name="connsiteX0" fmla="*/ 1 w 838201"/>
                  <a:gd name="connsiteY0" fmla="*/ 439616 h 742959"/>
                  <a:gd name="connsiteX1" fmla="*/ 115759 w 838201"/>
                  <a:gd name="connsiteY1" fmla="*/ 136274 h 742959"/>
                  <a:gd name="connsiteX2" fmla="*/ 419101 w 838201"/>
                  <a:gd name="connsiteY2" fmla="*/ 1 h 742959"/>
                  <a:gd name="connsiteX3" fmla="*/ 722443 w 838201"/>
                  <a:gd name="connsiteY3" fmla="*/ 136275 h 742959"/>
                  <a:gd name="connsiteX4" fmla="*/ 838200 w 838201"/>
                  <a:gd name="connsiteY4" fmla="*/ 439617 h 742959"/>
                  <a:gd name="connsiteX5" fmla="*/ 722442 w 838201"/>
                  <a:gd name="connsiteY5" fmla="*/ 742959 h 742959"/>
                  <a:gd name="connsiteX6" fmla="*/ 0 w 838201"/>
                  <a:gd name="connsiteY6" fmla="*/ 439617 h 742959"/>
                  <a:gd name="connsiteX7" fmla="*/ 1 w 838201"/>
                  <a:gd name="connsiteY7" fmla="*/ 439616 h 742959"/>
                  <a:gd name="connsiteX0" fmla="*/ 1 w 838201"/>
                  <a:gd name="connsiteY0" fmla="*/ 439616 h 490174"/>
                  <a:gd name="connsiteX1" fmla="*/ 115759 w 838201"/>
                  <a:gd name="connsiteY1" fmla="*/ 136274 h 490174"/>
                  <a:gd name="connsiteX2" fmla="*/ 419101 w 838201"/>
                  <a:gd name="connsiteY2" fmla="*/ 1 h 490174"/>
                  <a:gd name="connsiteX3" fmla="*/ 722443 w 838201"/>
                  <a:gd name="connsiteY3" fmla="*/ 136275 h 490174"/>
                  <a:gd name="connsiteX4" fmla="*/ 838200 w 838201"/>
                  <a:gd name="connsiteY4" fmla="*/ 439617 h 490174"/>
                  <a:gd name="connsiteX5" fmla="*/ 0 w 838201"/>
                  <a:gd name="connsiteY5" fmla="*/ 439617 h 490174"/>
                  <a:gd name="connsiteX6" fmla="*/ 1 w 838201"/>
                  <a:gd name="connsiteY6" fmla="*/ 439616 h 490174"/>
                  <a:gd name="connsiteX0" fmla="*/ 1 w 838201"/>
                  <a:gd name="connsiteY0" fmla="*/ 439616 h 439617"/>
                  <a:gd name="connsiteX1" fmla="*/ 115759 w 838201"/>
                  <a:gd name="connsiteY1" fmla="*/ 136274 h 439617"/>
                  <a:gd name="connsiteX2" fmla="*/ 419101 w 838201"/>
                  <a:gd name="connsiteY2" fmla="*/ 1 h 439617"/>
                  <a:gd name="connsiteX3" fmla="*/ 722443 w 838201"/>
                  <a:gd name="connsiteY3" fmla="*/ 136275 h 439617"/>
                  <a:gd name="connsiteX4" fmla="*/ 838200 w 838201"/>
                  <a:gd name="connsiteY4" fmla="*/ 439617 h 439617"/>
                  <a:gd name="connsiteX5" fmla="*/ 0 w 838201"/>
                  <a:gd name="connsiteY5" fmla="*/ 439617 h 439617"/>
                  <a:gd name="connsiteX6" fmla="*/ 1 w 838201"/>
                  <a:gd name="connsiteY6" fmla="*/ 439616 h 439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8201" h="439617">
                    <a:moveTo>
                      <a:pt x="1" y="439616"/>
                    </a:moveTo>
                    <a:cubicBezTo>
                      <a:pt x="1" y="326657"/>
                      <a:pt x="41453" y="218033"/>
                      <a:pt x="115759" y="136274"/>
                    </a:cubicBezTo>
                    <a:cubicBezTo>
                      <a:pt x="194853" y="49248"/>
                      <a:pt x="304476" y="0"/>
                      <a:pt x="419101" y="1"/>
                    </a:cubicBezTo>
                    <a:cubicBezTo>
                      <a:pt x="533726" y="1"/>
                      <a:pt x="643350" y="49249"/>
                      <a:pt x="722443" y="136275"/>
                    </a:cubicBezTo>
                    <a:cubicBezTo>
                      <a:pt x="796749" y="218034"/>
                      <a:pt x="838201" y="326659"/>
                      <a:pt x="838200" y="439617"/>
                    </a:cubicBezTo>
                    <a:lnTo>
                      <a:pt x="0" y="439617"/>
                    </a:lnTo>
                    <a:lnTo>
                      <a:pt x="1" y="439616"/>
                    </a:lnTo>
                    <a:close/>
                  </a:path>
                </a:pathLst>
              </a:custGeom>
              <a:gradFill flip="none" rotWithShape="1">
                <a:gsLst>
                  <a:gs pos="0">
                    <a:schemeClr val="accent2">
                      <a:lumMod val="50000"/>
                    </a:schemeClr>
                  </a:gs>
                  <a:gs pos="50000">
                    <a:schemeClr val="accent2">
                      <a:lumMod val="50000"/>
                    </a:schemeClr>
                  </a:gs>
                  <a:gs pos="100000">
                    <a:schemeClr val="accent2">
                      <a:lumMod val="75000"/>
                    </a:schemeClr>
                  </a:gs>
                </a:gsLst>
                <a:lin ang="5400000" scaled="1"/>
                <a:tileRect/>
              </a:gradFill>
              <a:ln w="9525">
                <a:gradFill>
                  <a:gsLst>
                    <a:gs pos="0">
                      <a:schemeClr val="accent2">
                        <a:lumMod val="50000"/>
                      </a:schemeClr>
                    </a:gs>
                    <a:gs pos="50000">
                      <a:schemeClr val="accent2">
                        <a:lumMod val="50000"/>
                      </a:schemeClr>
                    </a:gs>
                    <a:gs pos="100000">
                      <a:schemeClr val="accent2">
                        <a:lumMod val="75000"/>
                      </a:schemeClr>
                    </a:gs>
                  </a:gsLst>
                  <a:lin ang="5400000" scaled="0"/>
                </a:gradFill>
                <a:round/>
                <a:headEnd/>
                <a:tailEnd/>
              </a:ln>
            </p:spPr>
            <p:txBody>
              <a:bodyPr wrap="none" anchor="ctr"/>
              <a:lstStyle/>
              <a:p>
                <a:endParaRPr lang="en-US" sz="1350" dirty="0"/>
              </a:p>
            </p:txBody>
          </p:sp>
          <p:sp>
            <p:nvSpPr>
              <p:cNvPr id="53" name="Arc 5"/>
              <p:cNvSpPr>
                <a:spLocks/>
              </p:cNvSpPr>
              <p:nvPr/>
            </p:nvSpPr>
            <p:spPr bwMode="auto">
              <a:xfrm>
                <a:off x="1176338" y="1752599"/>
                <a:ext cx="304800" cy="441326"/>
              </a:xfrm>
              <a:custGeom>
                <a:avLst/>
                <a:gdLst>
                  <a:gd name="T0" fmla="*/ 0 w 21600"/>
                  <a:gd name="T1" fmla="*/ 0 h 21600"/>
                  <a:gd name="T2" fmla="*/ 192 w 21600"/>
                  <a:gd name="T3" fmla="*/ 240 h 21600"/>
                  <a:gd name="T4" fmla="*/ 0 w 21600"/>
                  <a:gd name="T5" fmla="*/ 24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gradFill>
                <a:gsLst>
                  <a:gs pos="0">
                    <a:schemeClr val="accent2">
                      <a:lumMod val="50000"/>
                    </a:schemeClr>
                  </a:gs>
                  <a:gs pos="50000">
                    <a:schemeClr val="accent2">
                      <a:lumMod val="75000"/>
                    </a:schemeClr>
                  </a:gs>
                  <a:gs pos="78000">
                    <a:schemeClr val="accent2">
                      <a:lumMod val="75000"/>
                    </a:schemeClr>
                  </a:gs>
                </a:gsLst>
                <a:lin ang="5400000" scaled="1"/>
              </a:gradFill>
              <a:ln w="9525">
                <a:noFill/>
                <a:round/>
                <a:headEnd/>
                <a:tailEnd/>
              </a:ln>
            </p:spPr>
            <p:txBody>
              <a:bodyPr wrap="none" anchor="ctr"/>
              <a:lstStyle/>
              <a:p>
                <a:endParaRPr lang="en-US" sz="1350" dirty="0"/>
              </a:p>
            </p:txBody>
          </p:sp>
          <p:sp>
            <p:nvSpPr>
              <p:cNvPr id="54" name="Arc 6"/>
              <p:cNvSpPr>
                <a:spLocks/>
              </p:cNvSpPr>
              <p:nvPr/>
            </p:nvSpPr>
            <p:spPr bwMode="auto">
              <a:xfrm flipH="1">
                <a:off x="822005" y="1755775"/>
                <a:ext cx="292417" cy="441325"/>
              </a:xfrm>
              <a:custGeom>
                <a:avLst/>
                <a:gdLst>
                  <a:gd name="T0" fmla="*/ 0 w 21600"/>
                  <a:gd name="T1" fmla="*/ 0 h 21600"/>
                  <a:gd name="T2" fmla="*/ 192 w 21600"/>
                  <a:gd name="T3" fmla="*/ 240 h 21600"/>
                  <a:gd name="T4" fmla="*/ 0 w 21600"/>
                  <a:gd name="T5" fmla="*/ 24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gradFill>
                <a:gsLst>
                  <a:gs pos="0">
                    <a:schemeClr val="accent2">
                      <a:lumMod val="50000"/>
                    </a:schemeClr>
                  </a:gs>
                  <a:gs pos="50000">
                    <a:schemeClr val="accent2">
                      <a:lumMod val="75000"/>
                    </a:schemeClr>
                  </a:gs>
                  <a:gs pos="78000">
                    <a:schemeClr val="accent2">
                      <a:lumMod val="75000"/>
                    </a:schemeClr>
                  </a:gs>
                </a:gsLst>
                <a:lin ang="5400000" scaled="1"/>
              </a:gradFill>
              <a:ln w="9525">
                <a:noFill/>
                <a:round/>
                <a:headEnd/>
                <a:tailEnd/>
              </a:ln>
            </p:spPr>
            <p:txBody>
              <a:bodyPr wrap="none" anchor="ctr"/>
              <a:lstStyle/>
              <a:p>
                <a:endParaRPr lang="en-US" sz="1350" dirty="0"/>
              </a:p>
            </p:txBody>
          </p:sp>
          <p:sp>
            <p:nvSpPr>
              <p:cNvPr id="55" name="Arc 7"/>
              <p:cNvSpPr>
                <a:spLocks/>
              </p:cNvSpPr>
              <p:nvPr/>
            </p:nvSpPr>
            <p:spPr bwMode="auto">
              <a:xfrm>
                <a:off x="1148557" y="1751499"/>
                <a:ext cx="254000" cy="445601"/>
              </a:xfrm>
              <a:custGeom>
                <a:avLst/>
                <a:gdLst>
                  <a:gd name="T0" fmla="*/ 12 w 21600"/>
                  <a:gd name="T1" fmla="*/ 0 h 21541"/>
                  <a:gd name="T2" fmla="*/ 160 w 21600"/>
                  <a:gd name="T3" fmla="*/ 239 h 21541"/>
                  <a:gd name="T4" fmla="*/ 0 w 21600"/>
                  <a:gd name="T5" fmla="*/ 239 h 21541"/>
                  <a:gd name="T6" fmla="*/ 0 60000 65536"/>
                  <a:gd name="T7" fmla="*/ 0 60000 65536"/>
                  <a:gd name="T8" fmla="*/ 0 60000 65536"/>
                  <a:gd name="T9" fmla="*/ 0 w 21600"/>
                  <a:gd name="T10" fmla="*/ 0 h 21541"/>
                  <a:gd name="T11" fmla="*/ 21600 w 21600"/>
                  <a:gd name="T12" fmla="*/ 21541 h 21541"/>
                </a:gdLst>
                <a:ahLst/>
                <a:cxnLst>
                  <a:cxn ang="T6">
                    <a:pos x="T0" y="T1"/>
                  </a:cxn>
                  <a:cxn ang="T7">
                    <a:pos x="T2" y="T3"/>
                  </a:cxn>
                  <a:cxn ang="T8">
                    <a:pos x="T4" y="T5"/>
                  </a:cxn>
                </a:cxnLst>
                <a:rect l="T9" t="T10" r="T11" b="T12"/>
                <a:pathLst>
                  <a:path w="21600" h="21541" fill="none" extrusionOk="0">
                    <a:moveTo>
                      <a:pt x="1589" y="-1"/>
                    </a:moveTo>
                    <a:cubicBezTo>
                      <a:pt x="12871" y="831"/>
                      <a:pt x="21600" y="10228"/>
                      <a:pt x="21600" y="21541"/>
                    </a:cubicBezTo>
                  </a:path>
                  <a:path w="21600" h="21541" stroke="0" extrusionOk="0">
                    <a:moveTo>
                      <a:pt x="1589" y="-1"/>
                    </a:moveTo>
                    <a:cubicBezTo>
                      <a:pt x="12871" y="831"/>
                      <a:pt x="21600" y="10228"/>
                      <a:pt x="21600" y="21541"/>
                    </a:cubicBezTo>
                    <a:lnTo>
                      <a:pt x="0" y="21541"/>
                    </a:lnTo>
                    <a:close/>
                  </a:path>
                </a:pathLst>
              </a:custGeom>
              <a:gradFill>
                <a:gsLst>
                  <a:gs pos="0">
                    <a:schemeClr val="accent2">
                      <a:lumMod val="50000"/>
                    </a:schemeClr>
                  </a:gs>
                  <a:gs pos="50000">
                    <a:schemeClr val="accent2">
                      <a:lumMod val="75000"/>
                    </a:schemeClr>
                  </a:gs>
                  <a:gs pos="78000">
                    <a:schemeClr val="accent2">
                      <a:lumMod val="75000"/>
                    </a:schemeClr>
                  </a:gs>
                </a:gsLst>
                <a:lin ang="5400000" scaled="1"/>
              </a:gradFill>
              <a:ln w="9525">
                <a:noFill/>
                <a:round/>
                <a:headEnd/>
                <a:tailEnd/>
              </a:ln>
            </p:spPr>
            <p:txBody>
              <a:bodyPr wrap="none" anchor="ctr"/>
              <a:lstStyle/>
              <a:p>
                <a:endParaRPr lang="en-US" sz="1350" dirty="0"/>
              </a:p>
            </p:txBody>
          </p:sp>
          <p:sp>
            <p:nvSpPr>
              <p:cNvPr id="56" name="Arc 9"/>
              <p:cNvSpPr>
                <a:spLocks/>
              </p:cNvSpPr>
              <p:nvPr/>
            </p:nvSpPr>
            <p:spPr bwMode="auto">
              <a:xfrm flipH="1">
                <a:off x="1022350" y="1754980"/>
                <a:ext cx="101600" cy="437784"/>
              </a:xfrm>
              <a:custGeom>
                <a:avLst/>
                <a:gdLst>
                  <a:gd name="T0" fmla="*/ 5 w 21600"/>
                  <a:gd name="T1" fmla="*/ 0 h 21541"/>
                  <a:gd name="T2" fmla="*/ 64 w 21600"/>
                  <a:gd name="T3" fmla="*/ 239 h 21541"/>
                  <a:gd name="T4" fmla="*/ 0 w 21600"/>
                  <a:gd name="T5" fmla="*/ 239 h 21541"/>
                  <a:gd name="T6" fmla="*/ 0 60000 65536"/>
                  <a:gd name="T7" fmla="*/ 0 60000 65536"/>
                  <a:gd name="T8" fmla="*/ 0 60000 65536"/>
                  <a:gd name="T9" fmla="*/ 0 w 21600"/>
                  <a:gd name="T10" fmla="*/ 0 h 21541"/>
                  <a:gd name="T11" fmla="*/ 21600 w 21600"/>
                  <a:gd name="T12" fmla="*/ 21541 h 21541"/>
                </a:gdLst>
                <a:ahLst/>
                <a:cxnLst>
                  <a:cxn ang="T6">
                    <a:pos x="T0" y="T1"/>
                  </a:cxn>
                  <a:cxn ang="T7">
                    <a:pos x="T2" y="T3"/>
                  </a:cxn>
                  <a:cxn ang="T8">
                    <a:pos x="T4" y="T5"/>
                  </a:cxn>
                </a:cxnLst>
                <a:rect l="T9" t="T10" r="T11" b="T12"/>
                <a:pathLst>
                  <a:path w="21600" h="21541" fill="none" extrusionOk="0">
                    <a:moveTo>
                      <a:pt x="1589" y="-1"/>
                    </a:moveTo>
                    <a:cubicBezTo>
                      <a:pt x="12871" y="831"/>
                      <a:pt x="21600" y="10228"/>
                      <a:pt x="21600" y="21541"/>
                    </a:cubicBezTo>
                  </a:path>
                  <a:path w="21600" h="21541" stroke="0" extrusionOk="0">
                    <a:moveTo>
                      <a:pt x="1589" y="-1"/>
                    </a:moveTo>
                    <a:cubicBezTo>
                      <a:pt x="12871" y="831"/>
                      <a:pt x="21600" y="10228"/>
                      <a:pt x="21600" y="21541"/>
                    </a:cubicBezTo>
                    <a:lnTo>
                      <a:pt x="0" y="21541"/>
                    </a:lnTo>
                    <a:close/>
                  </a:path>
                </a:pathLst>
              </a:custGeom>
              <a:gradFill>
                <a:gsLst>
                  <a:gs pos="0">
                    <a:schemeClr val="accent2">
                      <a:lumMod val="50000"/>
                    </a:schemeClr>
                  </a:gs>
                  <a:gs pos="50000">
                    <a:schemeClr val="accent2">
                      <a:lumMod val="50000"/>
                    </a:schemeClr>
                  </a:gs>
                  <a:gs pos="78000">
                    <a:schemeClr val="accent2">
                      <a:lumMod val="75000"/>
                    </a:schemeClr>
                  </a:gs>
                </a:gsLst>
                <a:lin ang="5400000" scaled="1"/>
              </a:gradFill>
              <a:ln w="9525">
                <a:noFill/>
                <a:round/>
                <a:headEnd/>
                <a:tailEnd/>
              </a:ln>
            </p:spPr>
            <p:txBody>
              <a:bodyPr wrap="none" anchor="ctr"/>
              <a:lstStyle/>
              <a:p>
                <a:endParaRPr lang="en-US" sz="1350" dirty="0"/>
              </a:p>
            </p:txBody>
          </p:sp>
          <p:sp>
            <p:nvSpPr>
              <p:cNvPr id="57" name="Arc 10"/>
              <p:cNvSpPr>
                <a:spLocks/>
              </p:cNvSpPr>
              <p:nvPr/>
            </p:nvSpPr>
            <p:spPr bwMode="auto">
              <a:xfrm>
                <a:off x="1154113" y="1752599"/>
                <a:ext cx="101600" cy="441326"/>
              </a:xfrm>
              <a:custGeom>
                <a:avLst/>
                <a:gdLst>
                  <a:gd name="T0" fmla="*/ 5 w 21600"/>
                  <a:gd name="T1" fmla="*/ 0 h 21541"/>
                  <a:gd name="T2" fmla="*/ 64 w 21600"/>
                  <a:gd name="T3" fmla="*/ 239 h 21541"/>
                  <a:gd name="T4" fmla="*/ 0 w 21600"/>
                  <a:gd name="T5" fmla="*/ 239 h 21541"/>
                  <a:gd name="T6" fmla="*/ 0 60000 65536"/>
                  <a:gd name="T7" fmla="*/ 0 60000 65536"/>
                  <a:gd name="T8" fmla="*/ 0 60000 65536"/>
                  <a:gd name="T9" fmla="*/ 0 w 21600"/>
                  <a:gd name="T10" fmla="*/ 0 h 21541"/>
                  <a:gd name="T11" fmla="*/ 21600 w 21600"/>
                  <a:gd name="T12" fmla="*/ 21541 h 21541"/>
                </a:gdLst>
                <a:ahLst/>
                <a:cxnLst>
                  <a:cxn ang="T6">
                    <a:pos x="T0" y="T1"/>
                  </a:cxn>
                  <a:cxn ang="T7">
                    <a:pos x="T2" y="T3"/>
                  </a:cxn>
                  <a:cxn ang="T8">
                    <a:pos x="T4" y="T5"/>
                  </a:cxn>
                </a:cxnLst>
                <a:rect l="T9" t="T10" r="T11" b="T12"/>
                <a:pathLst>
                  <a:path w="21600" h="21541" fill="none" extrusionOk="0">
                    <a:moveTo>
                      <a:pt x="1589" y="-1"/>
                    </a:moveTo>
                    <a:cubicBezTo>
                      <a:pt x="12871" y="831"/>
                      <a:pt x="21600" y="10228"/>
                      <a:pt x="21600" y="21541"/>
                    </a:cubicBezTo>
                  </a:path>
                  <a:path w="21600" h="21541" stroke="0" extrusionOk="0">
                    <a:moveTo>
                      <a:pt x="1589" y="-1"/>
                    </a:moveTo>
                    <a:cubicBezTo>
                      <a:pt x="12871" y="831"/>
                      <a:pt x="21600" y="10228"/>
                      <a:pt x="21600" y="21541"/>
                    </a:cubicBezTo>
                    <a:lnTo>
                      <a:pt x="0" y="21541"/>
                    </a:lnTo>
                    <a:close/>
                  </a:path>
                </a:pathLst>
              </a:custGeom>
              <a:gradFill>
                <a:gsLst>
                  <a:gs pos="0">
                    <a:schemeClr val="accent2">
                      <a:lumMod val="50000"/>
                    </a:schemeClr>
                  </a:gs>
                  <a:gs pos="50000">
                    <a:schemeClr val="accent2">
                      <a:lumMod val="50000"/>
                    </a:schemeClr>
                  </a:gs>
                  <a:gs pos="78000">
                    <a:schemeClr val="accent2">
                      <a:lumMod val="75000"/>
                    </a:schemeClr>
                  </a:gs>
                </a:gsLst>
                <a:lin ang="5400000" scaled="1"/>
              </a:gradFill>
              <a:ln w="9525">
                <a:noFill/>
                <a:round/>
                <a:headEnd/>
                <a:tailEnd/>
              </a:ln>
            </p:spPr>
            <p:txBody>
              <a:bodyPr wrap="none" anchor="ctr"/>
              <a:lstStyle/>
              <a:p>
                <a:endParaRPr lang="en-US" sz="1350" dirty="0"/>
              </a:p>
            </p:txBody>
          </p:sp>
          <p:sp>
            <p:nvSpPr>
              <p:cNvPr id="60" name="Line 11"/>
              <p:cNvSpPr>
                <a:spLocks noChangeShapeType="1"/>
              </p:cNvSpPr>
              <p:nvPr/>
            </p:nvSpPr>
            <p:spPr bwMode="auto">
              <a:xfrm>
                <a:off x="1157285" y="1749424"/>
                <a:ext cx="0" cy="450851"/>
              </a:xfrm>
              <a:prstGeom prst="line">
                <a:avLst/>
              </a:prstGeom>
              <a:noFill/>
              <a:ln w="9525">
                <a:gradFill>
                  <a:gsLst>
                    <a:gs pos="0">
                      <a:schemeClr val="accent2">
                        <a:lumMod val="50000"/>
                      </a:schemeClr>
                    </a:gs>
                    <a:gs pos="50000">
                      <a:schemeClr val="accent2">
                        <a:lumMod val="50000"/>
                      </a:schemeClr>
                    </a:gs>
                    <a:gs pos="100000">
                      <a:schemeClr val="accent2">
                        <a:lumMod val="75000"/>
                      </a:schemeClr>
                    </a:gs>
                  </a:gsLst>
                  <a:lin ang="5400000" scaled="0"/>
                </a:gradFill>
                <a:round/>
                <a:headEnd/>
                <a:tailEnd/>
              </a:ln>
            </p:spPr>
            <p:txBody>
              <a:bodyPr wrap="none" anchor="ctr"/>
              <a:lstStyle/>
              <a:p>
                <a:endParaRPr lang="en-US" sz="1350" dirty="0"/>
              </a:p>
            </p:txBody>
          </p:sp>
        </p:grpSp>
      </p:grpSp>
      <p:grpSp>
        <p:nvGrpSpPr>
          <p:cNvPr id="69" name="Group 5"/>
          <p:cNvGrpSpPr/>
          <p:nvPr/>
        </p:nvGrpSpPr>
        <p:grpSpPr>
          <a:xfrm>
            <a:off x="2480068" y="2957094"/>
            <a:ext cx="420589" cy="1535093"/>
            <a:chOff x="741362" y="1755648"/>
            <a:chExt cx="838201" cy="3447668"/>
          </a:xfrm>
          <a:effectLst/>
        </p:grpSpPr>
        <p:sp>
          <p:nvSpPr>
            <p:cNvPr id="70" name="Rectangle 4"/>
            <p:cNvSpPr>
              <a:spLocks noChangeArrowheads="1"/>
            </p:cNvSpPr>
            <p:nvPr/>
          </p:nvSpPr>
          <p:spPr bwMode="auto">
            <a:xfrm>
              <a:off x="741362" y="2213932"/>
              <a:ext cx="838200" cy="2989384"/>
            </a:xfrm>
            <a:prstGeom prst="rect">
              <a:avLst/>
            </a:prstGeom>
            <a:gradFill flip="none" rotWithShape="1">
              <a:gsLst>
                <a:gs pos="0">
                  <a:schemeClr val="accent5">
                    <a:lumMod val="50000"/>
                  </a:schemeClr>
                </a:gs>
                <a:gs pos="50000">
                  <a:schemeClr val="accent5"/>
                </a:gs>
                <a:gs pos="100000">
                  <a:schemeClr val="accent5">
                    <a:lumMod val="50000"/>
                  </a:schemeClr>
                </a:gs>
              </a:gsLst>
              <a:lin ang="10800000" scaled="1"/>
              <a:tileRect/>
            </a:gradFill>
            <a:ln w="9525">
              <a:gradFill>
                <a:gsLst>
                  <a:gs pos="0">
                    <a:schemeClr val="accent5">
                      <a:lumMod val="50000"/>
                    </a:schemeClr>
                  </a:gs>
                  <a:gs pos="50000">
                    <a:schemeClr val="accent5">
                      <a:lumMod val="50000"/>
                    </a:schemeClr>
                  </a:gs>
                  <a:gs pos="100000">
                    <a:schemeClr val="accent5">
                      <a:lumMod val="75000"/>
                    </a:schemeClr>
                  </a:gs>
                </a:gsLst>
                <a:lin ang="5400000" scaled="0"/>
              </a:gradFill>
              <a:miter lim="800000"/>
              <a:headEnd/>
              <a:tailEnd/>
            </a:ln>
          </p:spPr>
          <p:txBody>
            <a:bodyPr vert="vert270" wrap="none" anchor="ctr"/>
            <a:lstStyle/>
            <a:p>
              <a:pPr algn="ctr"/>
              <a:endParaRPr lang="en-US" sz="1350" b="1" dirty="0">
                <a:ln>
                  <a:solidFill>
                    <a:schemeClr val="bg1">
                      <a:alpha val="0"/>
                    </a:schemeClr>
                  </a:solidFill>
                </a:ln>
                <a:solidFill>
                  <a:schemeClr val="bg1"/>
                </a:solidFill>
              </a:endParaRPr>
            </a:p>
          </p:txBody>
        </p:sp>
        <p:grpSp>
          <p:nvGrpSpPr>
            <p:cNvPr id="71" name="Group 37"/>
            <p:cNvGrpSpPr/>
            <p:nvPr/>
          </p:nvGrpSpPr>
          <p:grpSpPr>
            <a:xfrm>
              <a:off x="741362" y="1755648"/>
              <a:ext cx="838201" cy="450851"/>
              <a:chOff x="738186" y="1749424"/>
              <a:chExt cx="838201" cy="450851"/>
            </a:xfrm>
          </p:grpSpPr>
          <p:sp>
            <p:nvSpPr>
              <p:cNvPr id="72" name="Oval 3"/>
              <p:cNvSpPr>
                <a:spLocks noChangeArrowheads="1"/>
              </p:cNvSpPr>
              <p:nvPr/>
            </p:nvSpPr>
            <p:spPr bwMode="auto">
              <a:xfrm>
                <a:off x="738186" y="1752597"/>
                <a:ext cx="838201" cy="447678"/>
              </a:xfrm>
              <a:custGeom>
                <a:avLst/>
                <a:gdLst>
                  <a:gd name="connsiteX0" fmla="*/ 0 w 838200"/>
                  <a:gd name="connsiteY0" fmla="*/ 439616 h 879231"/>
                  <a:gd name="connsiteX1" fmla="*/ 115758 w 838200"/>
                  <a:gd name="connsiteY1" fmla="*/ 136274 h 879231"/>
                  <a:gd name="connsiteX2" fmla="*/ 419100 w 838200"/>
                  <a:gd name="connsiteY2" fmla="*/ 1 h 879231"/>
                  <a:gd name="connsiteX3" fmla="*/ 722442 w 838200"/>
                  <a:gd name="connsiteY3" fmla="*/ 136275 h 879231"/>
                  <a:gd name="connsiteX4" fmla="*/ 838199 w 838200"/>
                  <a:gd name="connsiteY4" fmla="*/ 439617 h 879231"/>
                  <a:gd name="connsiteX5" fmla="*/ 722441 w 838200"/>
                  <a:gd name="connsiteY5" fmla="*/ 742959 h 879231"/>
                  <a:gd name="connsiteX6" fmla="*/ 419099 w 838200"/>
                  <a:gd name="connsiteY6" fmla="*/ 879233 h 879231"/>
                  <a:gd name="connsiteX7" fmla="*/ 115757 w 838200"/>
                  <a:gd name="connsiteY7" fmla="*/ 742959 h 879231"/>
                  <a:gd name="connsiteX8" fmla="*/ -1 w 838200"/>
                  <a:gd name="connsiteY8" fmla="*/ 439617 h 879231"/>
                  <a:gd name="connsiteX9" fmla="*/ 0 w 838200"/>
                  <a:gd name="connsiteY9" fmla="*/ 439616 h 879231"/>
                  <a:gd name="connsiteX0" fmla="*/ 1 w 838201"/>
                  <a:gd name="connsiteY0" fmla="*/ 439616 h 793516"/>
                  <a:gd name="connsiteX1" fmla="*/ 115759 w 838201"/>
                  <a:gd name="connsiteY1" fmla="*/ 136274 h 793516"/>
                  <a:gd name="connsiteX2" fmla="*/ 419101 w 838201"/>
                  <a:gd name="connsiteY2" fmla="*/ 1 h 793516"/>
                  <a:gd name="connsiteX3" fmla="*/ 722443 w 838201"/>
                  <a:gd name="connsiteY3" fmla="*/ 136275 h 793516"/>
                  <a:gd name="connsiteX4" fmla="*/ 838200 w 838201"/>
                  <a:gd name="connsiteY4" fmla="*/ 439617 h 793516"/>
                  <a:gd name="connsiteX5" fmla="*/ 722442 w 838201"/>
                  <a:gd name="connsiteY5" fmla="*/ 742959 h 793516"/>
                  <a:gd name="connsiteX6" fmla="*/ 115758 w 838201"/>
                  <a:gd name="connsiteY6" fmla="*/ 742959 h 793516"/>
                  <a:gd name="connsiteX7" fmla="*/ 0 w 838201"/>
                  <a:gd name="connsiteY7" fmla="*/ 439617 h 793516"/>
                  <a:gd name="connsiteX8" fmla="*/ 1 w 838201"/>
                  <a:gd name="connsiteY8" fmla="*/ 439616 h 793516"/>
                  <a:gd name="connsiteX0" fmla="*/ 1 w 838201"/>
                  <a:gd name="connsiteY0" fmla="*/ 439616 h 742959"/>
                  <a:gd name="connsiteX1" fmla="*/ 115759 w 838201"/>
                  <a:gd name="connsiteY1" fmla="*/ 136274 h 742959"/>
                  <a:gd name="connsiteX2" fmla="*/ 419101 w 838201"/>
                  <a:gd name="connsiteY2" fmla="*/ 1 h 742959"/>
                  <a:gd name="connsiteX3" fmla="*/ 722443 w 838201"/>
                  <a:gd name="connsiteY3" fmla="*/ 136275 h 742959"/>
                  <a:gd name="connsiteX4" fmla="*/ 838200 w 838201"/>
                  <a:gd name="connsiteY4" fmla="*/ 439617 h 742959"/>
                  <a:gd name="connsiteX5" fmla="*/ 722442 w 838201"/>
                  <a:gd name="connsiteY5" fmla="*/ 742959 h 742959"/>
                  <a:gd name="connsiteX6" fmla="*/ 0 w 838201"/>
                  <a:gd name="connsiteY6" fmla="*/ 439617 h 742959"/>
                  <a:gd name="connsiteX7" fmla="*/ 1 w 838201"/>
                  <a:gd name="connsiteY7" fmla="*/ 439616 h 742959"/>
                  <a:gd name="connsiteX0" fmla="*/ 1 w 838201"/>
                  <a:gd name="connsiteY0" fmla="*/ 439616 h 490174"/>
                  <a:gd name="connsiteX1" fmla="*/ 115759 w 838201"/>
                  <a:gd name="connsiteY1" fmla="*/ 136274 h 490174"/>
                  <a:gd name="connsiteX2" fmla="*/ 419101 w 838201"/>
                  <a:gd name="connsiteY2" fmla="*/ 1 h 490174"/>
                  <a:gd name="connsiteX3" fmla="*/ 722443 w 838201"/>
                  <a:gd name="connsiteY3" fmla="*/ 136275 h 490174"/>
                  <a:gd name="connsiteX4" fmla="*/ 838200 w 838201"/>
                  <a:gd name="connsiteY4" fmla="*/ 439617 h 490174"/>
                  <a:gd name="connsiteX5" fmla="*/ 0 w 838201"/>
                  <a:gd name="connsiteY5" fmla="*/ 439617 h 490174"/>
                  <a:gd name="connsiteX6" fmla="*/ 1 w 838201"/>
                  <a:gd name="connsiteY6" fmla="*/ 439616 h 490174"/>
                  <a:gd name="connsiteX0" fmla="*/ 1 w 838201"/>
                  <a:gd name="connsiteY0" fmla="*/ 439616 h 439617"/>
                  <a:gd name="connsiteX1" fmla="*/ 115759 w 838201"/>
                  <a:gd name="connsiteY1" fmla="*/ 136274 h 439617"/>
                  <a:gd name="connsiteX2" fmla="*/ 419101 w 838201"/>
                  <a:gd name="connsiteY2" fmla="*/ 1 h 439617"/>
                  <a:gd name="connsiteX3" fmla="*/ 722443 w 838201"/>
                  <a:gd name="connsiteY3" fmla="*/ 136275 h 439617"/>
                  <a:gd name="connsiteX4" fmla="*/ 838200 w 838201"/>
                  <a:gd name="connsiteY4" fmla="*/ 439617 h 439617"/>
                  <a:gd name="connsiteX5" fmla="*/ 0 w 838201"/>
                  <a:gd name="connsiteY5" fmla="*/ 439617 h 439617"/>
                  <a:gd name="connsiteX6" fmla="*/ 1 w 838201"/>
                  <a:gd name="connsiteY6" fmla="*/ 439616 h 439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8201" h="439617">
                    <a:moveTo>
                      <a:pt x="1" y="439616"/>
                    </a:moveTo>
                    <a:cubicBezTo>
                      <a:pt x="1" y="326657"/>
                      <a:pt x="41453" y="218033"/>
                      <a:pt x="115759" y="136274"/>
                    </a:cubicBezTo>
                    <a:cubicBezTo>
                      <a:pt x="194853" y="49248"/>
                      <a:pt x="304476" y="0"/>
                      <a:pt x="419101" y="1"/>
                    </a:cubicBezTo>
                    <a:cubicBezTo>
                      <a:pt x="533726" y="1"/>
                      <a:pt x="643350" y="49249"/>
                      <a:pt x="722443" y="136275"/>
                    </a:cubicBezTo>
                    <a:cubicBezTo>
                      <a:pt x="796749" y="218034"/>
                      <a:pt x="838201" y="326659"/>
                      <a:pt x="838200" y="439617"/>
                    </a:cubicBezTo>
                    <a:lnTo>
                      <a:pt x="0" y="439617"/>
                    </a:lnTo>
                    <a:lnTo>
                      <a:pt x="1" y="439616"/>
                    </a:lnTo>
                    <a:close/>
                  </a:path>
                </a:pathLst>
              </a:custGeom>
              <a:gradFill flip="none" rotWithShape="1">
                <a:gsLst>
                  <a:gs pos="0">
                    <a:schemeClr val="accent5">
                      <a:lumMod val="50000"/>
                    </a:schemeClr>
                  </a:gs>
                  <a:gs pos="50000">
                    <a:schemeClr val="accent5">
                      <a:lumMod val="50000"/>
                    </a:schemeClr>
                  </a:gs>
                  <a:gs pos="100000">
                    <a:schemeClr val="accent5">
                      <a:lumMod val="75000"/>
                    </a:schemeClr>
                  </a:gs>
                </a:gsLst>
                <a:lin ang="5400000" scaled="1"/>
                <a:tileRect/>
              </a:gradFill>
              <a:ln w="9525">
                <a:gradFill>
                  <a:gsLst>
                    <a:gs pos="0">
                      <a:schemeClr val="accent5">
                        <a:lumMod val="50000"/>
                      </a:schemeClr>
                    </a:gs>
                    <a:gs pos="50000">
                      <a:schemeClr val="accent5">
                        <a:lumMod val="50000"/>
                      </a:schemeClr>
                    </a:gs>
                    <a:gs pos="100000">
                      <a:schemeClr val="accent5">
                        <a:lumMod val="75000"/>
                      </a:schemeClr>
                    </a:gs>
                  </a:gsLst>
                  <a:lin ang="5400000" scaled="0"/>
                </a:gradFill>
                <a:round/>
                <a:headEnd/>
                <a:tailEnd/>
              </a:ln>
            </p:spPr>
            <p:txBody>
              <a:bodyPr wrap="none" anchor="ctr"/>
              <a:lstStyle/>
              <a:p>
                <a:endParaRPr lang="en-US" sz="1350" dirty="0"/>
              </a:p>
            </p:txBody>
          </p:sp>
          <p:sp>
            <p:nvSpPr>
              <p:cNvPr id="73" name="Arc 5"/>
              <p:cNvSpPr>
                <a:spLocks/>
              </p:cNvSpPr>
              <p:nvPr/>
            </p:nvSpPr>
            <p:spPr bwMode="auto">
              <a:xfrm>
                <a:off x="1176338" y="1752599"/>
                <a:ext cx="304800" cy="441326"/>
              </a:xfrm>
              <a:custGeom>
                <a:avLst/>
                <a:gdLst>
                  <a:gd name="T0" fmla="*/ 0 w 21600"/>
                  <a:gd name="T1" fmla="*/ 0 h 21600"/>
                  <a:gd name="T2" fmla="*/ 192 w 21600"/>
                  <a:gd name="T3" fmla="*/ 240 h 21600"/>
                  <a:gd name="T4" fmla="*/ 0 w 21600"/>
                  <a:gd name="T5" fmla="*/ 24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gradFill>
                <a:gsLst>
                  <a:gs pos="0">
                    <a:schemeClr val="accent5">
                      <a:lumMod val="50000"/>
                    </a:schemeClr>
                  </a:gs>
                  <a:gs pos="50000">
                    <a:schemeClr val="accent5">
                      <a:lumMod val="50000"/>
                    </a:schemeClr>
                  </a:gs>
                  <a:gs pos="100000">
                    <a:schemeClr val="accent5">
                      <a:lumMod val="75000"/>
                    </a:schemeClr>
                  </a:gs>
                </a:gsLst>
                <a:lin ang="5400000" scaled="1"/>
              </a:gradFill>
              <a:ln w="9525">
                <a:gradFill>
                  <a:gsLst>
                    <a:gs pos="0">
                      <a:schemeClr val="accent5">
                        <a:lumMod val="50000"/>
                      </a:schemeClr>
                    </a:gs>
                    <a:gs pos="50000">
                      <a:schemeClr val="accent5">
                        <a:lumMod val="50000"/>
                      </a:schemeClr>
                    </a:gs>
                    <a:gs pos="100000">
                      <a:schemeClr val="accent5">
                        <a:lumMod val="75000"/>
                      </a:schemeClr>
                    </a:gs>
                  </a:gsLst>
                  <a:lin ang="5400000" scaled="0"/>
                </a:gradFill>
                <a:round/>
                <a:headEnd/>
                <a:tailEnd/>
              </a:ln>
            </p:spPr>
            <p:txBody>
              <a:bodyPr wrap="none" anchor="ctr"/>
              <a:lstStyle/>
              <a:p>
                <a:endParaRPr lang="en-US" sz="1350" dirty="0"/>
              </a:p>
            </p:txBody>
          </p:sp>
          <p:sp>
            <p:nvSpPr>
              <p:cNvPr id="74" name="Arc 6"/>
              <p:cNvSpPr>
                <a:spLocks/>
              </p:cNvSpPr>
              <p:nvPr/>
            </p:nvSpPr>
            <p:spPr bwMode="auto">
              <a:xfrm flipH="1">
                <a:off x="822005" y="1755775"/>
                <a:ext cx="292417" cy="441325"/>
              </a:xfrm>
              <a:custGeom>
                <a:avLst/>
                <a:gdLst>
                  <a:gd name="T0" fmla="*/ 0 w 21600"/>
                  <a:gd name="T1" fmla="*/ 0 h 21600"/>
                  <a:gd name="T2" fmla="*/ 192 w 21600"/>
                  <a:gd name="T3" fmla="*/ 240 h 21600"/>
                  <a:gd name="T4" fmla="*/ 0 w 21600"/>
                  <a:gd name="T5" fmla="*/ 24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gradFill>
                <a:gsLst>
                  <a:gs pos="0">
                    <a:schemeClr val="accent5">
                      <a:lumMod val="50000"/>
                    </a:schemeClr>
                  </a:gs>
                  <a:gs pos="50000">
                    <a:schemeClr val="accent5">
                      <a:lumMod val="75000"/>
                    </a:schemeClr>
                  </a:gs>
                  <a:gs pos="100000">
                    <a:schemeClr val="accent5">
                      <a:lumMod val="75000"/>
                    </a:schemeClr>
                  </a:gs>
                </a:gsLst>
                <a:lin ang="5400000" scaled="1"/>
              </a:gradFill>
              <a:ln w="9525">
                <a:gradFill>
                  <a:gsLst>
                    <a:gs pos="0">
                      <a:schemeClr val="accent5">
                        <a:lumMod val="50000"/>
                      </a:schemeClr>
                    </a:gs>
                    <a:gs pos="50000">
                      <a:schemeClr val="accent5">
                        <a:lumMod val="50000"/>
                      </a:schemeClr>
                    </a:gs>
                    <a:gs pos="100000">
                      <a:schemeClr val="accent5">
                        <a:lumMod val="75000"/>
                      </a:schemeClr>
                    </a:gs>
                  </a:gsLst>
                  <a:lin ang="5400000" scaled="0"/>
                </a:gradFill>
                <a:round/>
                <a:headEnd/>
                <a:tailEnd/>
              </a:ln>
            </p:spPr>
            <p:txBody>
              <a:bodyPr wrap="none" anchor="ctr"/>
              <a:lstStyle/>
              <a:p>
                <a:endParaRPr lang="en-US" sz="1350" dirty="0"/>
              </a:p>
            </p:txBody>
          </p:sp>
          <p:sp>
            <p:nvSpPr>
              <p:cNvPr id="75" name="Arc 7"/>
              <p:cNvSpPr>
                <a:spLocks/>
              </p:cNvSpPr>
              <p:nvPr/>
            </p:nvSpPr>
            <p:spPr bwMode="auto">
              <a:xfrm>
                <a:off x="1148557" y="1751499"/>
                <a:ext cx="254000" cy="445601"/>
              </a:xfrm>
              <a:custGeom>
                <a:avLst/>
                <a:gdLst>
                  <a:gd name="T0" fmla="*/ 12 w 21600"/>
                  <a:gd name="T1" fmla="*/ 0 h 21541"/>
                  <a:gd name="T2" fmla="*/ 160 w 21600"/>
                  <a:gd name="T3" fmla="*/ 239 h 21541"/>
                  <a:gd name="T4" fmla="*/ 0 w 21600"/>
                  <a:gd name="T5" fmla="*/ 239 h 21541"/>
                  <a:gd name="T6" fmla="*/ 0 60000 65536"/>
                  <a:gd name="T7" fmla="*/ 0 60000 65536"/>
                  <a:gd name="T8" fmla="*/ 0 60000 65536"/>
                  <a:gd name="T9" fmla="*/ 0 w 21600"/>
                  <a:gd name="T10" fmla="*/ 0 h 21541"/>
                  <a:gd name="T11" fmla="*/ 21600 w 21600"/>
                  <a:gd name="T12" fmla="*/ 21541 h 21541"/>
                </a:gdLst>
                <a:ahLst/>
                <a:cxnLst>
                  <a:cxn ang="T6">
                    <a:pos x="T0" y="T1"/>
                  </a:cxn>
                  <a:cxn ang="T7">
                    <a:pos x="T2" y="T3"/>
                  </a:cxn>
                  <a:cxn ang="T8">
                    <a:pos x="T4" y="T5"/>
                  </a:cxn>
                </a:cxnLst>
                <a:rect l="T9" t="T10" r="T11" b="T12"/>
                <a:pathLst>
                  <a:path w="21600" h="21541" fill="none" extrusionOk="0">
                    <a:moveTo>
                      <a:pt x="1589" y="-1"/>
                    </a:moveTo>
                    <a:cubicBezTo>
                      <a:pt x="12871" y="831"/>
                      <a:pt x="21600" y="10228"/>
                      <a:pt x="21600" y="21541"/>
                    </a:cubicBezTo>
                  </a:path>
                  <a:path w="21600" h="21541" stroke="0" extrusionOk="0">
                    <a:moveTo>
                      <a:pt x="1589" y="-1"/>
                    </a:moveTo>
                    <a:cubicBezTo>
                      <a:pt x="12871" y="831"/>
                      <a:pt x="21600" y="10228"/>
                      <a:pt x="21600" y="21541"/>
                    </a:cubicBezTo>
                    <a:lnTo>
                      <a:pt x="0" y="21541"/>
                    </a:lnTo>
                    <a:close/>
                  </a:path>
                </a:pathLst>
              </a:custGeom>
              <a:gradFill>
                <a:gsLst>
                  <a:gs pos="0">
                    <a:schemeClr val="accent5">
                      <a:lumMod val="50000"/>
                    </a:schemeClr>
                  </a:gs>
                  <a:gs pos="50000">
                    <a:schemeClr val="accent5">
                      <a:lumMod val="75000"/>
                    </a:schemeClr>
                  </a:gs>
                  <a:gs pos="100000">
                    <a:schemeClr val="accent5">
                      <a:lumMod val="75000"/>
                    </a:schemeClr>
                  </a:gs>
                </a:gsLst>
                <a:lin ang="5400000" scaled="1"/>
              </a:gradFill>
              <a:ln w="9525">
                <a:gradFill>
                  <a:gsLst>
                    <a:gs pos="0">
                      <a:schemeClr val="accent5">
                        <a:lumMod val="50000"/>
                      </a:schemeClr>
                    </a:gs>
                    <a:gs pos="50000">
                      <a:schemeClr val="accent5">
                        <a:lumMod val="50000"/>
                      </a:schemeClr>
                    </a:gs>
                    <a:gs pos="100000">
                      <a:schemeClr val="accent5">
                        <a:lumMod val="75000"/>
                      </a:schemeClr>
                    </a:gs>
                  </a:gsLst>
                  <a:lin ang="5400000" scaled="0"/>
                </a:gradFill>
                <a:round/>
                <a:headEnd/>
                <a:tailEnd/>
              </a:ln>
            </p:spPr>
            <p:txBody>
              <a:bodyPr wrap="none" anchor="ctr"/>
              <a:lstStyle/>
              <a:p>
                <a:endParaRPr lang="en-US" sz="1350" dirty="0"/>
              </a:p>
            </p:txBody>
          </p:sp>
          <p:sp>
            <p:nvSpPr>
              <p:cNvPr id="76" name="Arc 9"/>
              <p:cNvSpPr>
                <a:spLocks/>
              </p:cNvSpPr>
              <p:nvPr/>
            </p:nvSpPr>
            <p:spPr bwMode="auto">
              <a:xfrm flipH="1">
                <a:off x="1022350" y="1754980"/>
                <a:ext cx="101600" cy="437784"/>
              </a:xfrm>
              <a:custGeom>
                <a:avLst/>
                <a:gdLst>
                  <a:gd name="T0" fmla="*/ 5 w 21600"/>
                  <a:gd name="T1" fmla="*/ 0 h 21541"/>
                  <a:gd name="T2" fmla="*/ 64 w 21600"/>
                  <a:gd name="T3" fmla="*/ 239 h 21541"/>
                  <a:gd name="T4" fmla="*/ 0 w 21600"/>
                  <a:gd name="T5" fmla="*/ 239 h 21541"/>
                  <a:gd name="T6" fmla="*/ 0 60000 65536"/>
                  <a:gd name="T7" fmla="*/ 0 60000 65536"/>
                  <a:gd name="T8" fmla="*/ 0 60000 65536"/>
                  <a:gd name="T9" fmla="*/ 0 w 21600"/>
                  <a:gd name="T10" fmla="*/ 0 h 21541"/>
                  <a:gd name="T11" fmla="*/ 21600 w 21600"/>
                  <a:gd name="T12" fmla="*/ 21541 h 21541"/>
                </a:gdLst>
                <a:ahLst/>
                <a:cxnLst>
                  <a:cxn ang="T6">
                    <a:pos x="T0" y="T1"/>
                  </a:cxn>
                  <a:cxn ang="T7">
                    <a:pos x="T2" y="T3"/>
                  </a:cxn>
                  <a:cxn ang="T8">
                    <a:pos x="T4" y="T5"/>
                  </a:cxn>
                </a:cxnLst>
                <a:rect l="T9" t="T10" r="T11" b="T12"/>
                <a:pathLst>
                  <a:path w="21600" h="21541" fill="none" extrusionOk="0">
                    <a:moveTo>
                      <a:pt x="1589" y="-1"/>
                    </a:moveTo>
                    <a:cubicBezTo>
                      <a:pt x="12871" y="831"/>
                      <a:pt x="21600" y="10228"/>
                      <a:pt x="21600" y="21541"/>
                    </a:cubicBezTo>
                  </a:path>
                  <a:path w="21600" h="21541" stroke="0" extrusionOk="0">
                    <a:moveTo>
                      <a:pt x="1589" y="-1"/>
                    </a:moveTo>
                    <a:cubicBezTo>
                      <a:pt x="12871" y="831"/>
                      <a:pt x="21600" y="10228"/>
                      <a:pt x="21600" y="21541"/>
                    </a:cubicBezTo>
                    <a:lnTo>
                      <a:pt x="0" y="21541"/>
                    </a:lnTo>
                    <a:close/>
                  </a:path>
                </a:pathLst>
              </a:custGeom>
              <a:gradFill>
                <a:gsLst>
                  <a:gs pos="0">
                    <a:schemeClr val="accent5">
                      <a:lumMod val="50000"/>
                    </a:schemeClr>
                  </a:gs>
                  <a:gs pos="50000">
                    <a:schemeClr val="accent5">
                      <a:lumMod val="50000"/>
                    </a:schemeClr>
                  </a:gs>
                  <a:gs pos="100000">
                    <a:schemeClr val="accent5">
                      <a:lumMod val="75000"/>
                    </a:schemeClr>
                  </a:gs>
                </a:gsLst>
                <a:lin ang="5400000" scaled="1"/>
              </a:gradFill>
              <a:ln w="9525">
                <a:gradFill>
                  <a:gsLst>
                    <a:gs pos="0">
                      <a:schemeClr val="accent5">
                        <a:lumMod val="50000"/>
                      </a:schemeClr>
                    </a:gs>
                    <a:gs pos="50000">
                      <a:schemeClr val="accent5">
                        <a:lumMod val="50000"/>
                      </a:schemeClr>
                    </a:gs>
                    <a:gs pos="100000">
                      <a:schemeClr val="accent5">
                        <a:lumMod val="75000"/>
                      </a:schemeClr>
                    </a:gs>
                  </a:gsLst>
                  <a:lin ang="5400000" scaled="0"/>
                </a:gradFill>
                <a:round/>
                <a:headEnd/>
                <a:tailEnd/>
              </a:ln>
            </p:spPr>
            <p:txBody>
              <a:bodyPr wrap="none" anchor="ctr"/>
              <a:lstStyle/>
              <a:p>
                <a:endParaRPr lang="en-US" sz="1350" dirty="0"/>
              </a:p>
            </p:txBody>
          </p:sp>
          <p:sp>
            <p:nvSpPr>
              <p:cNvPr id="77" name="Arc 10"/>
              <p:cNvSpPr>
                <a:spLocks/>
              </p:cNvSpPr>
              <p:nvPr/>
            </p:nvSpPr>
            <p:spPr bwMode="auto">
              <a:xfrm>
                <a:off x="1154113" y="1752599"/>
                <a:ext cx="101600" cy="441326"/>
              </a:xfrm>
              <a:custGeom>
                <a:avLst/>
                <a:gdLst>
                  <a:gd name="T0" fmla="*/ 5 w 21600"/>
                  <a:gd name="T1" fmla="*/ 0 h 21541"/>
                  <a:gd name="T2" fmla="*/ 64 w 21600"/>
                  <a:gd name="T3" fmla="*/ 239 h 21541"/>
                  <a:gd name="T4" fmla="*/ 0 w 21600"/>
                  <a:gd name="T5" fmla="*/ 239 h 21541"/>
                  <a:gd name="T6" fmla="*/ 0 60000 65536"/>
                  <a:gd name="T7" fmla="*/ 0 60000 65536"/>
                  <a:gd name="T8" fmla="*/ 0 60000 65536"/>
                  <a:gd name="T9" fmla="*/ 0 w 21600"/>
                  <a:gd name="T10" fmla="*/ 0 h 21541"/>
                  <a:gd name="T11" fmla="*/ 21600 w 21600"/>
                  <a:gd name="T12" fmla="*/ 21541 h 21541"/>
                </a:gdLst>
                <a:ahLst/>
                <a:cxnLst>
                  <a:cxn ang="T6">
                    <a:pos x="T0" y="T1"/>
                  </a:cxn>
                  <a:cxn ang="T7">
                    <a:pos x="T2" y="T3"/>
                  </a:cxn>
                  <a:cxn ang="T8">
                    <a:pos x="T4" y="T5"/>
                  </a:cxn>
                </a:cxnLst>
                <a:rect l="T9" t="T10" r="T11" b="T12"/>
                <a:pathLst>
                  <a:path w="21600" h="21541" fill="none" extrusionOk="0">
                    <a:moveTo>
                      <a:pt x="1589" y="-1"/>
                    </a:moveTo>
                    <a:cubicBezTo>
                      <a:pt x="12871" y="831"/>
                      <a:pt x="21600" y="10228"/>
                      <a:pt x="21600" y="21541"/>
                    </a:cubicBezTo>
                  </a:path>
                  <a:path w="21600" h="21541" stroke="0" extrusionOk="0">
                    <a:moveTo>
                      <a:pt x="1589" y="-1"/>
                    </a:moveTo>
                    <a:cubicBezTo>
                      <a:pt x="12871" y="831"/>
                      <a:pt x="21600" y="10228"/>
                      <a:pt x="21600" y="21541"/>
                    </a:cubicBezTo>
                    <a:lnTo>
                      <a:pt x="0" y="21541"/>
                    </a:lnTo>
                    <a:close/>
                  </a:path>
                </a:pathLst>
              </a:custGeom>
              <a:gradFill>
                <a:gsLst>
                  <a:gs pos="0">
                    <a:schemeClr val="accent5">
                      <a:lumMod val="50000"/>
                    </a:schemeClr>
                  </a:gs>
                  <a:gs pos="50000">
                    <a:schemeClr val="accent5">
                      <a:lumMod val="75000"/>
                    </a:schemeClr>
                  </a:gs>
                  <a:gs pos="100000">
                    <a:schemeClr val="accent5">
                      <a:lumMod val="75000"/>
                    </a:schemeClr>
                  </a:gs>
                </a:gsLst>
                <a:lin ang="5400000" scaled="1"/>
              </a:gradFill>
              <a:ln w="9525">
                <a:noFill/>
                <a:round/>
                <a:headEnd/>
                <a:tailEnd/>
              </a:ln>
            </p:spPr>
            <p:txBody>
              <a:bodyPr wrap="none" anchor="ctr"/>
              <a:lstStyle/>
              <a:p>
                <a:endParaRPr lang="en-US" sz="1350" dirty="0"/>
              </a:p>
            </p:txBody>
          </p:sp>
          <p:sp>
            <p:nvSpPr>
              <p:cNvPr id="78" name="Line 11"/>
              <p:cNvSpPr>
                <a:spLocks noChangeShapeType="1"/>
              </p:cNvSpPr>
              <p:nvPr/>
            </p:nvSpPr>
            <p:spPr bwMode="auto">
              <a:xfrm>
                <a:off x="1157285" y="1749424"/>
                <a:ext cx="0" cy="450851"/>
              </a:xfrm>
              <a:prstGeom prst="line">
                <a:avLst/>
              </a:prstGeom>
              <a:noFill/>
              <a:ln w="9525">
                <a:gradFill>
                  <a:gsLst>
                    <a:gs pos="0">
                      <a:schemeClr val="accent5">
                        <a:lumMod val="50000"/>
                      </a:schemeClr>
                    </a:gs>
                    <a:gs pos="50000">
                      <a:schemeClr val="accent5">
                        <a:lumMod val="50000"/>
                      </a:schemeClr>
                    </a:gs>
                    <a:gs pos="100000">
                      <a:schemeClr val="accent5">
                        <a:lumMod val="75000"/>
                      </a:schemeClr>
                    </a:gs>
                  </a:gsLst>
                  <a:lin ang="5400000" scaled="0"/>
                </a:gradFill>
                <a:round/>
                <a:headEnd/>
                <a:tailEnd/>
              </a:ln>
            </p:spPr>
            <p:txBody>
              <a:bodyPr wrap="none" anchor="ctr"/>
              <a:lstStyle/>
              <a:p>
                <a:endParaRPr lang="en-US" sz="1350" dirty="0"/>
              </a:p>
            </p:txBody>
          </p:sp>
        </p:grpSp>
      </p:grpSp>
      <p:sp>
        <p:nvSpPr>
          <p:cNvPr id="79" name="Rounded Rectangle 78"/>
          <p:cNvSpPr/>
          <p:nvPr/>
        </p:nvSpPr>
        <p:spPr bwMode="auto">
          <a:xfrm>
            <a:off x="657417" y="3201040"/>
            <a:ext cx="2385302" cy="485211"/>
          </a:xfrm>
          <a:prstGeom prst="roundRect">
            <a:avLst/>
          </a:prstGeom>
          <a:solidFill>
            <a:schemeClr val="bg1">
              <a:lumMod val="75000"/>
              <a:alpha val="32000"/>
            </a:schemeClr>
          </a:solidFill>
          <a:ln w="12700" cap="flat" cmpd="sng" algn="ctr">
            <a:noFill/>
            <a:prstDash val="dash"/>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lvl="1" algn="l" eaLnBrk="0" hangingPunct="0">
              <a:spcBef>
                <a:spcPct val="20000"/>
              </a:spcBef>
            </a:pPr>
            <a:endParaRPr lang="en-US" sz="1650" i="1" dirty="0"/>
          </a:p>
        </p:txBody>
      </p:sp>
      <p:sp>
        <p:nvSpPr>
          <p:cNvPr id="80" name="TextBox 79"/>
          <p:cNvSpPr txBox="1"/>
          <p:nvPr/>
        </p:nvSpPr>
        <p:spPr>
          <a:xfrm>
            <a:off x="657416" y="3227209"/>
            <a:ext cx="583225" cy="461665"/>
          </a:xfrm>
          <a:prstGeom prst="rect">
            <a:avLst/>
          </a:prstGeom>
          <a:noFill/>
        </p:spPr>
        <p:txBody>
          <a:bodyPr wrap="square" rtlCol="0">
            <a:spAutoFit/>
          </a:bodyPr>
          <a:lstStyle/>
          <a:p>
            <a:pPr algn="ctr"/>
            <a:r>
              <a:rPr lang="en-US" sz="1200" dirty="0"/>
              <a:t>Team 1</a:t>
            </a:r>
          </a:p>
        </p:txBody>
      </p:sp>
      <p:sp>
        <p:nvSpPr>
          <p:cNvPr id="81" name="Rounded Rectangle 80"/>
          <p:cNvSpPr/>
          <p:nvPr/>
        </p:nvSpPr>
        <p:spPr bwMode="auto">
          <a:xfrm>
            <a:off x="666588" y="3949315"/>
            <a:ext cx="2402151" cy="485211"/>
          </a:xfrm>
          <a:prstGeom prst="roundRect">
            <a:avLst/>
          </a:prstGeom>
          <a:solidFill>
            <a:schemeClr val="bg1">
              <a:lumMod val="75000"/>
              <a:alpha val="32000"/>
            </a:schemeClr>
          </a:solidFill>
          <a:ln w="12700" cap="flat" cmpd="sng" algn="ctr">
            <a:noFill/>
            <a:prstDash val="dash"/>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lvl="1" algn="l" eaLnBrk="0" hangingPunct="0">
              <a:spcBef>
                <a:spcPct val="20000"/>
              </a:spcBef>
            </a:pPr>
            <a:endParaRPr lang="en-US" sz="1650" i="1" dirty="0"/>
          </a:p>
        </p:txBody>
      </p:sp>
      <p:sp>
        <p:nvSpPr>
          <p:cNvPr id="82" name="TextBox 81"/>
          <p:cNvSpPr txBox="1"/>
          <p:nvPr/>
        </p:nvSpPr>
        <p:spPr>
          <a:xfrm>
            <a:off x="657416" y="3993977"/>
            <a:ext cx="595575" cy="461665"/>
          </a:xfrm>
          <a:prstGeom prst="rect">
            <a:avLst/>
          </a:prstGeom>
          <a:noFill/>
        </p:spPr>
        <p:txBody>
          <a:bodyPr wrap="square" rtlCol="0">
            <a:spAutoFit/>
          </a:bodyPr>
          <a:lstStyle/>
          <a:p>
            <a:pPr algn="ctr"/>
            <a:r>
              <a:rPr lang="en-US" sz="1200" dirty="0"/>
              <a:t>Team n</a:t>
            </a:r>
          </a:p>
        </p:txBody>
      </p:sp>
      <p:pic>
        <p:nvPicPr>
          <p:cNvPr id="88" name="Picture 87" descr="person 3.png"/>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2561631" y="3260762"/>
            <a:ext cx="290918" cy="413618"/>
          </a:xfrm>
          <a:prstGeom prst="rect">
            <a:avLst/>
          </a:prstGeom>
          <a:effectLst>
            <a:outerShdw blurRad="136525" dist="38100" dir="2700000" algn="tl" rotWithShape="0">
              <a:schemeClr val="bg1">
                <a:alpha val="79000"/>
              </a:schemeClr>
            </a:outerShdw>
          </a:effectLst>
        </p:spPr>
      </p:pic>
      <p:pic>
        <p:nvPicPr>
          <p:cNvPr id="44" name="Picture 18"/>
          <p:cNvPicPr>
            <a:picLocks noChangeAspect="1" noChangeArrowheads="1"/>
          </p:cNvPicPr>
          <p:nvPr>
            <p:custDataLst>
              <p:tags r:id="rId1"/>
            </p:custDataLst>
          </p:nvPr>
        </p:nvPicPr>
        <p:blipFill>
          <a:blip r:embed="rId7" cstate="print">
            <a:extLst>
              <a:ext uri="{28A0092B-C50C-407E-A947-70E740481C1C}">
                <a14:useLocalDpi xmlns:a14="http://schemas.microsoft.com/office/drawing/2010/main"/>
              </a:ext>
            </a:extLst>
          </a:blip>
          <a:stretch>
            <a:fillRect/>
          </a:stretch>
        </p:blipFill>
        <p:spPr bwMode="auto">
          <a:xfrm>
            <a:off x="1393212" y="3172610"/>
            <a:ext cx="312677" cy="446681"/>
          </a:xfrm>
          <a:prstGeom prst="rect">
            <a:avLst/>
          </a:prstGeom>
          <a:noFill/>
          <a:effectLst>
            <a:outerShdw blurRad="136525" dist="38100" dir="2700000" algn="tl" rotWithShape="0">
              <a:schemeClr val="bg1">
                <a:alpha val="79000"/>
              </a:schemeClr>
            </a:outerShdw>
          </a:effectLst>
        </p:spPr>
      </p:pic>
      <p:pic>
        <p:nvPicPr>
          <p:cNvPr id="45" name="Picture 18"/>
          <p:cNvPicPr>
            <a:picLocks noChangeAspect="1" noChangeArrowheads="1"/>
          </p:cNvPicPr>
          <p:nvPr>
            <p:custDataLst>
              <p:tags r:id="rId2"/>
            </p:custDataLst>
          </p:nvPr>
        </p:nvPicPr>
        <p:blipFill>
          <a:blip r:embed="rId7" cstate="print">
            <a:extLst>
              <a:ext uri="{28A0092B-C50C-407E-A947-70E740481C1C}">
                <a14:useLocalDpi xmlns:a14="http://schemas.microsoft.com/office/drawing/2010/main"/>
              </a:ext>
            </a:extLst>
          </a:blip>
          <a:stretch>
            <a:fillRect/>
          </a:stretch>
        </p:blipFill>
        <p:spPr bwMode="auto">
          <a:xfrm>
            <a:off x="1387298" y="3934181"/>
            <a:ext cx="312677" cy="446681"/>
          </a:xfrm>
          <a:prstGeom prst="rect">
            <a:avLst/>
          </a:prstGeom>
          <a:noFill/>
          <a:effectLst>
            <a:outerShdw blurRad="136525" dist="38100" dir="2700000" algn="tl" rotWithShape="0">
              <a:schemeClr val="bg1">
                <a:alpha val="79000"/>
              </a:schemeClr>
            </a:outerShdw>
          </a:effectLst>
        </p:spPr>
      </p:pic>
      <p:pic>
        <p:nvPicPr>
          <p:cNvPr id="46" name="Picture 45" descr="Solution-Arch-Eng.png"/>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2519646" y="3971168"/>
            <a:ext cx="326304" cy="434597"/>
          </a:xfrm>
          <a:prstGeom prst="rect">
            <a:avLst/>
          </a:prstGeom>
          <a:noFill/>
          <a:effectLst>
            <a:outerShdw blurRad="136525" dist="38100" dir="2700000" algn="tl" rotWithShape="0">
              <a:schemeClr val="bg1">
                <a:alpha val="79000"/>
              </a:schemeClr>
            </a:outerShdw>
          </a:effectLst>
        </p:spPr>
      </p:pic>
      <p:pic>
        <p:nvPicPr>
          <p:cNvPr id="47" name="Picture 46" descr="Solution-Arch-Eng.png"/>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1958895" y="3207941"/>
            <a:ext cx="326304" cy="434597"/>
          </a:xfrm>
          <a:prstGeom prst="rect">
            <a:avLst/>
          </a:prstGeom>
          <a:noFill/>
          <a:effectLst>
            <a:outerShdw blurRad="136525" dist="38100" dir="2700000" algn="tl" rotWithShape="0">
              <a:schemeClr val="bg1">
                <a:alpha val="79000"/>
              </a:schemeClr>
            </a:outerShdw>
          </a:effectLst>
        </p:spPr>
      </p:pic>
      <p:pic>
        <p:nvPicPr>
          <p:cNvPr id="48" name="Picture 47" descr="person 3.png"/>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991634" y="3971168"/>
            <a:ext cx="296831" cy="422027"/>
          </a:xfrm>
          <a:prstGeom prst="rect">
            <a:avLst/>
          </a:prstGeom>
          <a:effectLst>
            <a:outerShdw blurRad="136525" dist="38100" dir="2700000" algn="tl" rotWithShape="0">
              <a:schemeClr val="bg1">
                <a:alpha val="79000"/>
              </a:schemeClr>
            </a:outerShdw>
          </a:effectLst>
        </p:spPr>
      </p:pic>
      <p:graphicFrame>
        <p:nvGraphicFramePr>
          <p:cNvPr id="43" name="Diagram 42"/>
          <p:cNvGraphicFramePr/>
          <p:nvPr>
            <p:extLst>
              <p:ext uri="{D42A27DB-BD31-4B8C-83A1-F6EECF244321}">
                <p14:modId xmlns:p14="http://schemas.microsoft.com/office/powerpoint/2010/main" val="195328001"/>
              </p:ext>
            </p:extLst>
          </p:nvPr>
        </p:nvGraphicFramePr>
        <p:xfrm>
          <a:off x="6509379" y="3024093"/>
          <a:ext cx="2095486" cy="1623252"/>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58" name="Rectangle 57"/>
          <p:cNvSpPr/>
          <p:nvPr/>
        </p:nvSpPr>
        <p:spPr>
          <a:xfrm>
            <a:off x="6958023" y="3627838"/>
            <a:ext cx="1212153" cy="346249"/>
          </a:xfrm>
          <a:prstGeom prst="rect">
            <a:avLst/>
          </a:prstGeom>
          <a:noFill/>
        </p:spPr>
        <p:txBody>
          <a:bodyPr wrap="square" lIns="68580" tIns="34290" rIns="68580" bIns="34290">
            <a:spAutoFit/>
          </a:bodyPr>
          <a:lstStyle/>
          <a:p>
            <a:pPr algn="ctr"/>
            <a:r>
              <a:rPr lang="en-US" b="1" dirty="0">
                <a:ln w="31550" cmpd="sng">
                  <a:noFill/>
                  <a:prstDash val="solid"/>
                </a:ln>
              </a:rPr>
              <a:t>PDCA</a:t>
            </a:r>
          </a:p>
        </p:txBody>
      </p:sp>
      <p:pic>
        <p:nvPicPr>
          <p:cNvPr id="2" name="Picture 1"/>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3786595" y="3132335"/>
            <a:ext cx="2124583" cy="1406769"/>
          </a:xfrm>
          <a:prstGeom prst="rect">
            <a:avLst/>
          </a:prstGeom>
        </p:spPr>
      </p:pic>
      <p:cxnSp>
        <p:nvCxnSpPr>
          <p:cNvPr id="8" name="Straight Connector 7"/>
          <p:cNvCxnSpPr/>
          <p:nvPr/>
        </p:nvCxnSpPr>
        <p:spPr bwMode="auto">
          <a:xfrm>
            <a:off x="1319486" y="3201040"/>
            <a:ext cx="1581170" cy="0"/>
          </a:xfrm>
          <a:prstGeom prst="line">
            <a:avLst/>
          </a:prstGeom>
          <a:solidFill>
            <a:schemeClr val="accent1"/>
          </a:solidFill>
          <a:ln w="9525" cap="flat" cmpd="sng" algn="ctr">
            <a:solidFill>
              <a:schemeClr val="bg1"/>
            </a:solidFill>
            <a:prstDash val="dash"/>
            <a:round/>
            <a:headEnd type="none" w="med" len="med"/>
            <a:tailEnd type="none" w="med" len="med"/>
          </a:ln>
          <a:effectLst/>
        </p:spPr>
      </p:cxnSp>
      <p:cxnSp>
        <p:nvCxnSpPr>
          <p:cNvPr id="59" name="Straight Connector 58"/>
          <p:cNvCxnSpPr/>
          <p:nvPr/>
        </p:nvCxnSpPr>
        <p:spPr bwMode="auto">
          <a:xfrm>
            <a:off x="1319486" y="3686309"/>
            <a:ext cx="1581170" cy="0"/>
          </a:xfrm>
          <a:prstGeom prst="line">
            <a:avLst/>
          </a:prstGeom>
          <a:solidFill>
            <a:schemeClr val="accent1"/>
          </a:solidFill>
          <a:ln w="9525" cap="flat" cmpd="sng" algn="ctr">
            <a:solidFill>
              <a:schemeClr val="bg1"/>
            </a:solidFill>
            <a:prstDash val="dash"/>
            <a:round/>
            <a:headEnd type="none" w="med" len="med"/>
            <a:tailEnd type="none" w="med" len="med"/>
          </a:ln>
          <a:effectLst/>
        </p:spPr>
      </p:cxnSp>
      <p:cxnSp>
        <p:nvCxnSpPr>
          <p:cNvPr id="61" name="Straight Connector 60"/>
          <p:cNvCxnSpPr/>
          <p:nvPr/>
        </p:nvCxnSpPr>
        <p:spPr bwMode="auto">
          <a:xfrm>
            <a:off x="1319486" y="3949315"/>
            <a:ext cx="1581170" cy="0"/>
          </a:xfrm>
          <a:prstGeom prst="line">
            <a:avLst/>
          </a:prstGeom>
          <a:solidFill>
            <a:schemeClr val="accent1"/>
          </a:solidFill>
          <a:ln w="9525" cap="flat" cmpd="sng" algn="ctr">
            <a:solidFill>
              <a:schemeClr val="bg1"/>
            </a:solidFill>
            <a:prstDash val="dash"/>
            <a:round/>
            <a:headEnd type="none" w="med" len="med"/>
            <a:tailEnd type="none" w="med" len="med"/>
          </a:ln>
          <a:effectLst/>
        </p:spPr>
      </p:cxnSp>
      <p:cxnSp>
        <p:nvCxnSpPr>
          <p:cNvPr id="62" name="Straight Connector 61"/>
          <p:cNvCxnSpPr/>
          <p:nvPr/>
        </p:nvCxnSpPr>
        <p:spPr bwMode="auto">
          <a:xfrm>
            <a:off x="1319486" y="4434526"/>
            <a:ext cx="1581170" cy="0"/>
          </a:xfrm>
          <a:prstGeom prst="line">
            <a:avLst/>
          </a:prstGeom>
          <a:solidFill>
            <a:schemeClr val="accent1"/>
          </a:solidFill>
          <a:ln w="9525" cap="flat" cmpd="sng" algn="ctr">
            <a:solidFill>
              <a:schemeClr val="bg1"/>
            </a:solidFill>
            <a:prstDash val="dash"/>
            <a:round/>
            <a:headEnd type="none" w="med" len="med"/>
            <a:tailEnd type="none" w="med" len="med"/>
          </a:ln>
          <a:effectLst/>
        </p:spPr>
      </p:cxnSp>
    </p:spTree>
    <p:extLst>
      <p:ext uri="{BB962C8B-B14F-4D97-AF65-F5344CB8AC3E}">
        <p14:creationId xmlns:p14="http://schemas.microsoft.com/office/powerpoint/2010/main" val="15353294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Except a team of Agile Teams</a:t>
            </a:r>
            <a:endParaRPr lang="en-US" dirty="0"/>
          </a:p>
        </p:txBody>
      </p:sp>
      <p:sp>
        <p:nvSpPr>
          <p:cNvPr id="3" name="Content Placeholder 2"/>
          <p:cNvSpPr>
            <a:spLocks noGrp="1"/>
          </p:cNvSpPr>
          <p:nvPr>
            <p:ph idx="1"/>
          </p:nvPr>
        </p:nvSpPr>
        <p:spPr>
          <a:xfrm>
            <a:off x="387480" y="1065964"/>
            <a:ext cx="8658279" cy="1316840"/>
          </a:xfrm>
        </p:spPr>
        <p:txBody>
          <a:bodyPr/>
          <a:lstStyle/>
          <a:p>
            <a:pPr>
              <a:spcBef>
                <a:spcPts val="600"/>
              </a:spcBef>
              <a:spcAft>
                <a:spcPts val="600"/>
              </a:spcAft>
            </a:pPr>
            <a:r>
              <a:rPr lang="en-US" sz="1800" dirty="0"/>
              <a:t>Align 50 - 125 practitioners to a common mission</a:t>
            </a:r>
          </a:p>
          <a:p>
            <a:pPr>
              <a:spcBef>
                <a:spcPts val="600"/>
              </a:spcBef>
              <a:spcAft>
                <a:spcPts val="600"/>
              </a:spcAft>
            </a:pPr>
            <a:r>
              <a:rPr lang="en-US" sz="1800" dirty="0"/>
              <a:t>Apply cadence and synchronization, Program Increments every 6 - 12 weeks</a:t>
            </a:r>
          </a:p>
          <a:p>
            <a:pPr>
              <a:spcBef>
                <a:spcPts val="600"/>
              </a:spcBef>
              <a:spcAft>
                <a:spcPts val="600"/>
              </a:spcAft>
            </a:pPr>
            <a:r>
              <a:rPr lang="en-US" sz="1800" dirty="0"/>
              <a:t>Provide Vision, Roadmap, architectural guidance</a:t>
            </a:r>
          </a:p>
        </p:txBody>
      </p:sp>
      <p:pic>
        <p:nvPicPr>
          <p:cNvPr id="5" name="Picture 4"/>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3484964" y="2500318"/>
            <a:ext cx="5223378" cy="2103465"/>
          </a:xfrm>
          <a:prstGeom prst="rect">
            <a:avLst/>
          </a:prstGeom>
        </p:spPr>
      </p:pic>
      <p:grpSp>
        <p:nvGrpSpPr>
          <p:cNvPr id="61" name="Group 60"/>
          <p:cNvGrpSpPr/>
          <p:nvPr/>
        </p:nvGrpSpPr>
        <p:grpSpPr>
          <a:xfrm>
            <a:off x="754713" y="2738910"/>
            <a:ext cx="1936326" cy="1283450"/>
            <a:chOff x="1003300" y="4279900"/>
            <a:chExt cx="3286658" cy="1881281"/>
          </a:xfrm>
        </p:grpSpPr>
        <p:cxnSp>
          <p:nvCxnSpPr>
            <p:cNvPr id="70" name="Straight Connector 69"/>
            <p:cNvCxnSpPr/>
            <p:nvPr/>
          </p:nvCxnSpPr>
          <p:spPr bwMode="auto">
            <a:xfrm flipV="1">
              <a:off x="1014739" y="5257800"/>
              <a:ext cx="13961" cy="890681"/>
            </a:xfrm>
            <a:prstGeom prst="line">
              <a:avLst/>
            </a:prstGeom>
            <a:noFill/>
            <a:ln w="38100" cap="flat" cmpd="sng" algn="ctr">
              <a:solidFill>
                <a:srgbClr val="FED28D"/>
              </a:solidFill>
              <a:prstDash val="solid"/>
              <a:round/>
              <a:headEnd type="none" w="med" len="med"/>
              <a:tailEnd type="oval" w="lg" len="lg"/>
            </a:ln>
            <a:effectLst/>
          </p:spPr>
        </p:cxnSp>
        <p:cxnSp>
          <p:nvCxnSpPr>
            <p:cNvPr id="71" name="Straight Connector 70"/>
            <p:cNvCxnSpPr/>
            <p:nvPr/>
          </p:nvCxnSpPr>
          <p:spPr bwMode="auto">
            <a:xfrm flipV="1">
              <a:off x="1471939" y="5257800"/>
              <a:ext cx="13961" cy="890681"/>
            </a:xfrm>
            <a:prstGeom prst="line">
              <a:avLst/>
            </a:prstGeom>
            <a:noFill/>
            <a:ln w="38100" cap="flat" cmpd="sng" algn="ctr">
              <a:solidFill>
                <a:srgbClr val="FED28D"/>
              </a:solidFill>
              <a:prstDash val="solid"/>
              <a:round/>
              <a:headEnd type="none" w="med" len="med"/>
              <a:tailEnd type="oval" w="lg" len="lg"/>
            </a:ln>
            <a:effectLst/>
          </p:spPr>
        </p:cxnSp>
        <p:cxnSp>
          <p:nvCxnSpPr>
            <p:cNvPr id="72" name="Straight Connector 71"/>
            <p:cNvCxnSpPr/>
            <p:nvPr/>
          </p:nvCxnSpPr>
          <p:spPr bwMode="auto">
            <a:xfrm flipV="1">
              <a:off x="2386339" y="5257800"/>
              <a:ext cx="13961" cy="890681"/>
            </a:xfrm>
            <a:prstGeom prst="line">
              <a:avLst/>
            </a:prstGeom>
            <a:noFill/>
            <a:ln w="38100" cap="flat" cmpd="sng" algn="ctr">
              <a:solidFill>
                <a:srgbClr val="FED28D"/>
              </a:solidFill>
              <a:prstDash val="solid"/>
              <a:round/>
              <a:headEnd type="none" w="med" len="med"/>
              <a:tailEnd type="oval" w="lg" len="lg"/>
            </a:ln>
            <a:effectLst/>
          </p:spPr>
        </p:cxnSp>
        <p:cxnSp>
          <p:nvCxnSpPr>
            <p:cNvPr id="73" name="Straight Connector 72"/>
            <p:cNvCxnSpPr/>
            <p:nvPr/>
          </p:nvCxnSpPr>
          <p:spPr bwMode="auto">
            <a:xfrm flipV="1">
              <a:off x="1929139" y="5257800"/>
              <a:ext cx="13961" cy="890681"/>
            </a:xfrm>
            <a:prstGeom prst="line">
              <a:avLst/>
            </a:prstGeom>
            <a:noFill/>
            <a:ln w="38100" cap="flat" cmpd="sng" algn="ctr">
              <a:solidFill>
                <a:srgbClr val="FED28D"/>
              </a:solidFill>
              <a:prstDash val="solid"/>
              <a:round/>
              <a:headEnd type="none" w="med" len="med"/>
              <a:tailEnd type="oval" w="lg" len="lg"/>
            </a:ln>
            <a:effectLst/>
          </p:spPr>
        </p:cxnSp>
        <p:cxnSp>
          <p:nvCxnSpPr>
            <p:cNvPr id="74" name="Straight Connector 73"/>
            <p:cNvCxnSpPr/>
            <p:nvPr/>
          </p:nvCxnSpPr>
          <p:spPr bwMode="auto">
            <a:xfrm flipV="1">
              <a:off x="1954539" y="4279900"/>
              <a:ext cx="13961" cy="890681"/>
            </a:xfrm>
            <a:prstGeom prst="line">
              <a:avLst/>
            </a:prstGeom>
            <a:noFill/>
            <a:ln w="38100" cap="flat" cmpd="sng" algn="ctr">
              <a:solidFill>
                <a:srgbClr val="FED28D"/>
              </a:solidFill>
              <a:prstDash val="solid"/>
              <a:round/>
              <a:headEnd type="none" w="med" len="med"/>
              <a:tailEnd type="oval" w="lg" len="lg"/>
            </a:ln>
            <a:effectLst/>
          </p:spPr>
        </p:cxnSp>
        <p:cxnSp>
          <p:nvCxnSpPr>
            <p:cNvPr id="75" name="Straight Connector 74"/>
            <p:cNvCxnSpPr/>
            <p:nvPr/>
          </p:nvCxnSpPr>
          <p:spPr bwMode="auto">
            <a:xfrm flipV="1">
              <a:off x="3351539" y="4330700"/>
              <a:ext cx="13961" cy="890681"/>
            </a:xfrm>
            <a:prstGeom prst="line">
              <a:avLst/>
            </a:prstGeom>
            <a:noFill/>
            <a:ln w="38100" cap="flat" cmpd="sng" algn="ctr">
              <a:solidFill>
                <a:srgbClr val="FED28D"/>
              </a:solidFill>
              <a:prstDash val="solid"/>
              <a:round/>
              <a:headEnd type="none" w="med" len="med"/>
              <a:tailEnd type="oval" w="lg" len="lg"/>
            </a:ln>
            <a:effectLst/>
          </p:spPr>
        </p:cxnSp>
        <p:cxnSp>
          <p:nvCxnSpPr>
            <p:cNvPr id="76" name="Straight Connector 75"/>
            <p:cNvCxnSpPr/>
            <p:nvPr/>
          </p:nvCxnSpPr>
          <p:spPr bwMode="auto">
            <a:xfrm>
              <a:off x="1003300" y="5257800"/>
              <a:ext cx="3238500" cy="12700"/>
            </a:xfrm>
            <a:prstGeom prst="line">
              <a:avLst/>
            </a:prstGeom>
            <a:noFill/>
            <a:ln w="38100" cap="flat" cmpd="sng" algn="ctr">
              <a:solidFill>
                <a:srgbClr val="FED28D"/>
              </a:solidFill>
              <a:prstDash val="solid"/>
              <a:round/>
              <a:headEnd type="none" w="med" len="med"/>
              <a:tailEnd type="none" w="lg" len="lg"/>
            </a:ln>
            <a:effectLst/>
          </p:spPr>
        </p:cxnSp>
        <p:cxnSp>
          <p:nvCxnSpPr>
            <p:cNvPr id="77" name="Straight Connector 76"/>
            <p:cNvCxnSpPr/>
            <p:nvPr/>
          </p:nvCxnSpPr>
          <p:spPr bwMode="auto">
            <a:xfrm flipV="1">
              <a:off x="2881639" y="5270500"/>
              <a:ext cx="13961" cy="890681"/>
            </a:xfrm>
            <a:prstGeom prst="line">
              <a:avLst/>
            </a:prstGeom>
            <a:noFill/>
            <a:ln w="38100" cap="flat" cmpd="sng" algn="ctr">
              <a:solidFill>
                <a:srgbClr val="FED28D"/>
              </a:solidFill>
              <a:prstDash val="solid"/>
              <a:round/>
              <a:headEnd type="none" w="med" len="med"/>
              <a:tailEnd type="oval" w="lg" len="lg"/>
            </a:ln>
            <a:effectLst/>
          </p:spPr>
        </p:cxnSp>
        <p:cxnSp>
          <p:nvCxnSpPr>
            <p:cNvPr id="78" name="Straight Connector 77"/>
            <p:cNvCxnSpPr/>
            <p:nvPr/>
          </p:nvCxnSpPr>
          <p:spPr bwMode="auto">
            <a:xfrm flipV="1">
              <a:off x="3338839" y="5270500"/>
              <a:ext cx="13961" cy="890681"/>
            </a:xfrm>
            <a:prstGeom prst="line">
              <a:avLst/>
            </a:prstGeom>
            <a:noFill/>
            <a:ln w="38100" cap="flat" cmpd="sng" algn="ctr">
              <a:solidFill>
                <a:srgbClr val="FED28D"/>
              </a:solidFill>
              <a:prstDash val="solid"/>
              <a:round/>
              <a:headEnd type="none" w="med" len="med"/>
              <a:tailEnd type="oval" w="lg" len="lg"/>
            </a:ln>
            <a:effectLst/>
          </p:spPr>
        </p:cxnSp>
        <p:cxnSp>
          <p:nvCxnSpPr>
            <p:cNvPr id="79" name="Straight Connector 78"/>
            <p:cNvCxnSpPr/>
            <p:nvPr/>
          </p:nvCxnSpPr>
          <p:spPr bwMode="auto">
            <a:xfrm flipV="1">
              <a:off x="4253239" y="5270500"/>
              <a:ext cx="13961" cy="890681"/>
            </a:xfrm>
            <a:prstGeom prst="line">
              <a:avLst/>
            </a:prstGeom>
            <a:noFill/>
            <a:ln w="38100" cap="flat" cmpd="sng" algn="ctr">
              <a:solidFill>
                <a:srgbClr val="FED28D"/>
              </a:solidFill>
              <a:prstDash val="solid"/>
              <a:round/>
              <a:headEnd type="none" w="med" len="med"/>
              <a:tailEnd type="oval" w="lg" len="lg"/>
            </a:ln>
            <a:effectLst/>
          </p:spPr>
        </p:cxnSp>
        <p:cxnSp>
          <p:nvCxnSpPr>
            <p:cNvPr id="80" name="Straight Connector 79"/>
            <p:cNvCxnSpPr/>
            <p:nvPr/>
          </p:nvCxnSpPr>
          <p:spPr bwMode="auto">
            <a:xfrm flipV="1">
              <a:off x="3796039" y="5270500"/>
              <a:ext cx="13961" cy="890681"/>
            </a:xfrm>
            <a:prstGeom prst="line">
              <a:avLst/>
            </a:prstGeom>
            <a:noFill/>
            <a:ln w="38100" cap="flat" cmpd="sng" algn="ctr">
              <a:solidFill>
                <a:srgbClr val="FED28D"/>
              </a:solidFill>
              <a:prstDash val="solid"/>
              <a:round/>
              <a:headEnd type="none" w="med" len="med"/>
              <a:tailEnd type="oval" w="lg" len="lg"/>
            </a:ln>
            <a:effectLst/>
          </p:spPr>
        </p:cxnSp>
        <p:cxnSp>
          <p:nvCxnSpPr>
            <p:cNvPr id="81" name="Straight Connector 80"/>
            <p:cNvCxnSpPr/>
            <p:nvPr/>
          </p:nvCxnSpPr>
          <p:spPr bwMode="auto">
            <a:xfrm>
              <a:off x="2880258" y="5288883"/>
              <a:ext cx="1409700" cy="12701"/>
            </a:xfrm>
            <a:prstGeom prst="line">
              <a:avLst/>
            </a:prstGeom>
            <a:noFill/>
            <a:ln w="38100" cap="flat" cmpd="sng" algn="ctr">
              <a:solidFill>
                <a:srgbClr val="FED28D"/>
              </a:solidFill>
              <a:prstDash val="solid"/>
              <a:round/>
              <a:headEnd type="none" w="med" len="med"/>
              <a:tailEnd type="none" w="lg" len="lg"/>
            </a:ln>
            <a:effectLst/>
          </p:spPr>
        </p:cxnSp>
        <p:cxnSp>
          <p:nvCxnSpPr>
            <p:cNvPr id="82" name="Straight Connector 81"/>
            <p:cNvCxnSpPr/>
            <p:nvPr/>
          </p:nvCxnSpPr>
          <p:spPr bwMode="auto">
            <a:xfrm>
              <a:off x="1993900" y="4318000"/>
              <a:ext cx="1384300" cy="0"/>
            </a:xfrm>
            <a:prstGeom prst="line">
              <a:avLst/>
            </a:prstGeom>
            <a:noFill/>
            <a:ln w="38100" cap="flat" cmpd="sng" algn="ctr">
              <a:solidFill>
                <a:srgbClr val="FED28D"/>
              </a:solidFill>
              <a:prstDash val="solid"/>
              <a:round/>
              <a:headEnd type="none" w="med" len="med"/>
              <a:tailEnd type="none" w="lg" len="lg"/>
            </a:ln>
            <a:effectLst/>
          </p:spPr>
        </p:cxnSp>
      </p:grpSp>
      <p:graphicFrame>
        <p:nvGraphicFramePr>
          <p:cNvPr id="62" name="Diagram 61"/>
          <p:cNvGraphicFramePr/>
          <p:nvPr>
            <p:extLst>
              <p:ext uri="{D42A27DB-BD31-4B8C-83A1-F6EECF244321}">
                <p14:modId xmlns:p14="http://schemas.microsoft.com/office/powerpoint/2010/main" val="44286356"/>
              </p:ext>
            </p:extLst>
          </p:nvPr>
        </p:nvGraphicFramePr>
        <p:xfrm>
          <a:off x="1465913" y="2725280"/>
          <a:ext cx="482600" cy="6858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63" name="Diagram 62"/>
          <p:cNvGraphicFramePr/>
          <p:nvPr>
            <p:extLst>
              <p:ext uri="{D42A27DB-BD31-4B8C-83A1-F6EECF244321}">
                <p14:modId xmlns:p14="http://schemas.microsoft.com/office/powerpoint/2010/main" val="2121271215"/>
              </p:ext>
            </p:extLst>
          </p:nvPr>
        </p:nvGraphicFramePr>
        <p:xfrm>
          <a:off x="2438058" y="3665073"/>
          <a:ext cx="208043" cy="331611"/>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cxnSp>
        <p:nvCxnSpPr>
          <p:cNvPr id="83" name="Straight Connector 82"/>
          <p:cNvCxnSpPr/>
          <p:nvPr/>
        </p:nvCxnSpPr>
        <p:spPr bwMode="auto">
          <a:xfrm flipV="1">
            <a:off x="2172847" y="2762065"/>
            <a:ext cx="877120" cy="2638"/>
          </a:xfrm>
          <a:prstGeom prst="line">
            <a:avLst/>
          </a:prstGeom>
          <a:noFill/>
          <a:ln w="38100" cap="flat" cmpd="sng" algn="ctr">
            <a:solidFill>
              <a:srgbClr val="FED28D"/>
            </a:solidFill>
            <a:prstDash val="solid"/>
            <a:round/>
            <a:headEnd type="none" w="med" len="med"/>
            <a:tailEnd type="none" w="lg" len="lg"/>
          </a:ln>
          <a:effectLst/>
        </p:spPr>
      </p:cxnSp>
      <p:graphicFrame>
        <p:nvGraphicFramePr>
          <p:cNvPr id="29" name="Diagram 28"/>
          <p:cNvGraphicFramePr/>
          <p:nvPr>
            <p:extLst>
              <p:ext uri="{D42A27DB-BD31-4B8C-83A1-F6EECF244321}">
                <p14:modId xmlns:p14="http://schemas.microsoft.com/office/powerpoint/2010/main" val="925191663"/>
              </p:ext>
            </p:extLst>
          </p:nvPr>
        </p:nvGraphicFramePr>
        <p:xfrm>
          <a:off x="791838" y="3649747"/>
          <a:ext cx="208043" cy="331611"/>
        </p:xfrm>
        <a:graphic>
          <a:graphicData uri="http://schemas.openxmlformats.org/drawingml/2006/diagram">
            <dgm:relIds xmlns:dgm="http://schemas.openxmlformats.org/drawingml/2006/diagram" xmlns:r="http://schemas.openxmlformats.org/officeDocument/2006/relationships" r:dm="rId14" r:lo="rId15" r:qs="rId16" r:cs="rId17"/>
          </a:graphicData>
        </a:graphic>
      </p:graphicFrame>
      <p:graphicFrame>
        <p:nvGraphicFramePr>
          <p:cNvPr id="30" name="Diagram 29"/>
          <p:cNvGraphicFramePr/>
          <p:nvPr>
            <p:extLst>
              <p:ext uri="{D42A27DB-BD31-4B8C-83A1-F6EECF244321}">
                <p14:modId xmlns:p14="http://schemas.microsoft.com/office/powerpoint/2010/main" val="1638917795"/>
              </p:ext>
            </p:extLst>
          </p:nvPr>
        </p:nvGraphicFramePr>
        <p:xfrm>
          <a:off x="1062210" y="3649747"/>
          <a:ext cx="208043" cy="331611"/>
        </p:xfrm>
        <a:graphic>
          <a:graphicData uri="http://schemas.openxmlformats.org/drawingml/2006/diagram">
            <dgm:relIds xmlns:dgm="http://schemas.openxmlformats.org/drawingml/2006/diagram" xmlns:r="http://schemas.openxmlformats.org/officeDocument/2006/relationships" r:dm="rId19" r:lo="rId20" r:qs="rId21" r:cs="rId22"/>
          </a:graphicData>
        </a:graphic>
      </p:graphicFrame>
      <p:graphicFrame>
        <p:nvGraphicFramePr>
          <p:cNvPr id="31" name="Diagram 30"/>
          <p:cNvGraphicFramePr/>
          <p:nvPr>
            <p:extLst>
              <p:ext uri="{D42A27DB-BD31-4B8C-83A1-F6EECF244321}">
                <p14:modId xmlns:p14="http://schemas.microsoft.com/office/powerpoint/2010/main" val="1666124143"/>
              </p:ext>
            </p:extLst>
          </p:nvPr>
        </p:nvGraphicFramePr>
        <p:xfrm>
          <a:off x="1334409" y="3649747"/>
          <a:ext cx="208043" cy="331611"/>
        </p:xfrm>
        <a:graphic>
          <a:graphicData uri="http://schemas.openxmlformats.org/drawingml/2006/diagram">
            <dgm:relIds xmlns:dgm="http://schemas.openxmlformats.org/drawingml/2006/diagram" xmlns:r="http://schemas.openxmlformats.org/officeDocument/2006/relationships" r:dm="rId24" r:lo="rId25" r:qs="rId26" r:cs="rId27"/>
          </a:graphicData>
        </a:graphic>
      </p:graphicFrame>
      <p:graphicFrame>
        <p:nvGraphicFramePr>
          <p:cNvPr id="32" name="Diagram 31"/>
          <p:cNvGraphicFramePr/>
          <p:nvPr>
            <p:extLst>
              <p:ext uri="{D42A27DB-BD31-4B8C-83A1-F6EECF244321}">
                <p14:modId xmlns:p14="http://schemas.microsoft.com/office/powerpoint/2010/main" val="1509198168"/>
              </p:ext>
            </p:extLst>
          </p:nvPr>
        </p:nvGraphicFramePr>
        <p:xfrm>
          <a:off x="1619647" y="3649747"/>
          <a:ext cx="208043" cy="331611"/>
        </p:xfrm>
        <a:graphic>
          <a:graphicData uri="http://schemas.openxmlformats.org/drawingml/2006/diagram">
            <dgm:relIds xmlns:dgm="http://schemas.openxmlformats.org/drawingml/2006/diagram" xmlns:r="http://schemas.openxmlformats.org/officeDocument/2006/relationships" r:dm="rId29" r:lo="rId30" r:qs="rId31" r:cs="rId32"/>
          </a:graphicData>
        </a:graphic>
      </p:graphicFrame>
      <p:graphicFrame>
        <p:nvGraphicFramePr>
          <p:cNvPr id="33" name="Diagram 32"/>
          <p:cNvGraphicFramePr/>
          <p:nvPr>
            <p:extLst>
              <p:ext uri="{D42A27DB-BD31-4B8C-83A1-F6EECF244321}">
                <p14:modId xmlns:p14="http://schemas.microsoft.com/office/powerpoint/2010/main" val="1164254859"/>
              </p:ext>
            </p:extLst>
          </p:nvPr>
        </p:nvGraphicFramePr>
        <p:xfrm>
          <a:off x="1895572" y="3659571"/>
          <a:ext cx="208043" cy="331611"/>
        </p:xfrm>
        <a:graphic>
          <a:graphicData uri="http://schemas.openxmlformats.org/drawingml/2006/diagram">
            <dgm:relIds xmlns:dgm="http://schemas.openxmlformats.org/drawingml/2006/diagram" xmlns:r="http://schemas.openxmlformats.org/officeDocument/2006/relationships" r:dm="rId34" r:lo="rId35" r:qs="rId36" r:cs="rId37"/>
          </a:graphicData>
        </a:graphic>
      </p:graphicFrame>
      <p:graphicFrame>
        <p:nvGraphicFramePr>
          <p:cNvPr id="34" name="Diagram 33"/>
          <p:cNvGraphicFramePr/>
          <p:nvPr>
            <p:extLst>
              <p:ext uri="{D42A27DB-BD31-4B8C-83A1-F6EECF244321}">
                <p14:modId xmlns:p14="http://schemas.microsoft.com/office/powerpoint/2010/main" val="1907907396"/>
              </p:ext>
            </p:extLst>
          </p:nvPr>
        </p:nvGraphicFramePr>
        <p:xfrm>
          <a:off x="2162220" y="3669242"/>
          <a:ext cx="208043" cy="331611"/>
        </p:xfrm>
        <a:graphic>
          <a:graphicData uri="http://schemas.openxmlformats.org/drawingml/2006/diagram">
            <dgm:relIds xmlns:dgm="http://schemas.openxmlformats.org/drawingml/2006/diagram" xmlns:r="http://schemas.openxmlformats.org/officeDocument/2006/relationships" r:dm="rId39" r:lo="rId40" r:qs="rId41" r:cs="rId42"/>
          </a:graphicData>
        </a:graphic>
      </p:graphicFrame>
    </p:spTree>
    <p:extLst>
      <p:ext uri="{BB962C8B-B14F-4D97-AF65-F5344CB8AC3E}">
        <p14:creationId xmlns:p14="http://schemas.microsoft.com/office/powerpoint/2010/main" val="30176136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6" name="Picture 115" descr="blue.png"/>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4882247" y="896063"/>
            <a:ext cx="425710" cy="993322"/>
          </a:xfrm>
          <a:prstGeom prst="rect">
            <a:avLst/>
          </a:prstGeom>
        </p:spPr>
      </p:pic>
      <p:pic>
        <p:nvPicPr>
          <p:cNvPr id="115" name="Picture 114" descr="blue.png"/>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5645604" y="902866"/>
            <a:ext cx="425710" cy="993322"/>
          </a:xfrm>
          <a:prstGeom prst="rect">
            <a:avLst/>
          </a:prstGeom>
        </p:spPr>
      </p:pic>
      <p:pic>
        <p:nvPicPr>
          <p:cNvPr id="114" name="Picture 113" descr="blue.png"/>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564821" y="864762"/>
            <a:ext cx="425710" cy="993322"/>
          </a:xfrm>
          <a:prstGeom prst="rect">
            <a:avLst/>
          </a:prstGeom>
        </p:spPr>
      </p:pic>
      <p:grpSp>
        <p:nvGrpSpPr>
          <p:cNvPr id="212" name="Group 8"/>
          <p:cNvGrpSpPr>
            <a:grpSpLocks noChangeAspect="1"/>
          </p:cNvGrpSpPr>
          <p:nvPr/>
        </p:nvGrpSpPr>
        <p:grpSpPr>
          <a:xfrm>
            <a:off x="3109445" y="876410"/>
            <a:ext cx="411234" cy="981936"/>
            <a:chOff x="4288536" y="1755648"/>
            <a:chExt cx="838201" cy="2001438"/>
          </a:xfrm>
          <a:effectLst>
            <a:outerShdw blurRad="50800" dist="38100" algn="l" rotWithShape="0">
              <a:prstClr val="black">
                <a:alpha val="40000"/>
              </a:prstClr>
            </a:outerShdw>
          </a:effectLst>
        </p:grpSpPr>
        <p:sp>
          <p:nvSpPr>
            <p:cNvPr id="213" name="Rectangle 4"/>
            <p:cNvSpPr>
              <a:spLocks noChangeArrowheads="1"/>
            </p:cNvSpPr>
            <p:nvPr/>
          </p:nvSpPr>
          <p:spPr bwMode="auto">
            <a:xfrm>
              <a:off x="4288536" y="2213932"/>
              <a:ext cx="838200" cy="1543154"/>
            </a:xfrm>
            <a:prstGeom prst="rect">
              <a:avLst/>
            </a:prstGeom>
            <a:gradFill flip="none" rotWithShape="1">
              <a:gsLst>
                <a:gs pos="0">
                  <a:schemeClr val="accent2">
                    <a:lumMod val="50000"/>
                  </a:schemeClr>
                </a:gs>
                <a:gs pos="50000">
                  <a:schemeClr val="accent2">
                    <a:lumMod val="75000"/>
                  </a:schemeClr>
                </a:gs>
                <a:gs pos="100000">
                  <a:schemeClr val="accent2">
                    <a:lumMod val="50000"/>
                  </a:schemeClr>
                </a:gs>
              </a:gsLst>
              <a:lin ang="10800000" scaled="1"/>
              <a:tileRect/>
            </a:gradFill>
            <a:ln w="9525">
              <a:gradFill>
                <a:gsLst>
                  <a:gs pos="0">
                    <a:schemeClr val="accent2">
                      <a:lumMod val="50000"/>
                    </a:schemeClr>
                  </a:gs>
                  <a:gs pos="50000">
                    <a:schemeClr val="accent2">
                      <a:lumMod val="50000"/>
                    </a:schemeClr>
                  </a:gs>
                  <a:gs pos="100000">
                    <a:schemeClr val="accent2">
                      <a:lumMod val="75000"/>
                    </a:schemeClr>
                  </a:gs>
                </a:gsLst>
                <a:lin ang="5400000" scaled="0"/>
              </a:gradFill>
              <a:miter lim="800000"/>
              <a:headEnd/>
              <a:tailEnd/>
            </a:ln>
          </p:spPr>
          <p:txBody>
            <a:bodyPr vert="vert270" wrap="none" anchor="ctr"/>
            <a:lstStyle/>
            <a:p>
              <a:pPr algn="ctr"/>
              <a:endParaRPr lang="en-US" sz="1350" b="1" dirty="0">
                <a:ln>
                  <a:solidFill>
                    <a:schemeClr val="bg1">
                      <a:alpha val="0"/>
                    </a:schemeClr>
                  </a:solidFill>
                </a:ln>
                <a:solidFill>
                  <a:schemeClr val="bg1"/>
                </a:solidFill>
              </a:endParaRPr>
            </a:p>
          </p:txBody>
        </p:sp>
        <p:grpSp>
          <p:nvGrpSpPr>
            <p:cNvPr id="214" name="Group 10"/>
            <p:cNvGrpSpPr/>
            <p:nvPr/>
          </p:nvGrpSpPr>
          <p:grpSpPr>
            <a:xfrm>
              <a:off x="4288536" y="1755648"/>
              <a:ext cx="838201" cy="450851"/>
              <a:chOff x="738186" y="1749424"/>
              <a:chExt cx="838201" cy="450851"/>
            </a:xfrm>
          </p:grpSpPr>
          <p:sp>
            <p:nvSpPr>
              <p:cNvPr id="215" name="Oval 3"/>
              <p:cNvSpPr>
                <a:spLocks noChangeArrowheads="1"/>
              </p:cNvSpPr>
              <p:nvPr/>
            </p:nvSpPr>
            <p:spPr bwMode="auto">
              <a:xfrm>
                <a:off x="738186" y="1752597"/>
                <a:ext cx="838201" cy="447678"/>
              </a:xfrm>
              <a:custGeom>
                <a:avLst/>
                <a:gdLst>
                  <a:gd name="connsiteX0" fmla="*/ 0 w 838200"/>
                  <a:gd name="connsiteY0" fmla="*/ 439616 h 879231"/>
                  <a:gd name="connsiteX1" fmla="*/ 115758 w 838200"/>
                  <a:gd name="connsiteY1" fmla="*/ 136274 h 879231"/>
                  <a:gd name="connsiteX2" fmla="*/ 419100 w 838200"/>
                  <a:gd name="connsiteY2" fmla="*/ 1 h 879231"/>
                  <a:gd name="connsiteX3" fmla="*/ 722442 w 838200"/>
                  <a:gd name="connsiteY3" fmla="*/ 136275 h 879231"/>
                  <a:gd name="connsiteX4" fmla="*/ 838199 w 838200"/>
                  <a:gd name="connsiteY4" fmla="*/ 439617 h 879231"/>
                  <a:gd name="connsiteX5" fmla="*/ 722441 w 838200"/>
                  <a:gd name="connsiteY5" fmla="*/ 742959 h 879231"/>
                  <a:gd name="connsiteX6" fmla="*/ 419099 w 838200"/>
                  <a:gd name="connsiteY6" fmla="*/ 879233 h 879231"/>
                  <a:gd name="connsiteX7" fmla="*/ 115757 w 838200"/>
                  <a:gd name="connsiteY7" fmla="*/ 742959 h 879231"/>
                  <a:gd name="connsiteX8" fmla="*/ -1 w 838200"/>
                  <a:gd name="connsiteY8" fmla="*/ 439617 h 879231"/>
                  <a:gd name="connsiteX9" fmla="*/ 0 w 838200"/>
                  <a:gd name="connsiteY9" fmla="*/ 439616 h 879231"/>
                  <a:gd name="connsiteX0" fmla="*/ 1 w 838201"/>
                  <a:gd name="connsiteY0" fmla="*/ 439616 h 793516"/>
                  <a:gd name="connsiteX1" fmla="*/ 115759 w 838201"/>
                  <a:gd name="connsiteY1" fmla="*/ 136274 h 793516"/>
                  <a:gd name="connsiteX2" fmla="*/ 419101 w 838201"/>
                  <a:gd name="connsiteY2" fmla="*/ 1 h 793516"/>
                  <a:gd name="connsiteX3" fmla="*/ 722443 w 838201"/>
                  <a:gd name="connsiteY3" fmla="*/ 136275 h 793516"/>
                  <a:gd name="connsiteX4" fmla="*/ 838200 w 838201"/>
                  <a:gd name="connsiteY4" fmla="*/ 439617 h 793516"/>
                  <a:gd name="connsiteX5" fmla="*/ 722442 w 838201"/>
                  <a:gd name="connsiteY5" fmla="*/ 742959 h 793516"/>
                  <a:gd name="connsiteX6" fmla="*/ 115758 w 838201"/>
                  <a:gd name="connsiteY6" fmla="*/ 742959 h 793516"/>
                  <a:gd name="connsiteX7" fmla="*/ 0 w 838201"/>
                  <a:gd name="connsiteY7" fmla="*/ 439617 h 793516"/>
                  <a:gd name="connsiteX8" fmla="*/ 1 w 838201"/>
                  <a:gd name="connsiteY8" fmla="*/ 439616 h 793516"/>
                  <a:gd name="connsiteX0" fmla="*/ 1 w 838201"/>
                  <a:gd name="connsiteY0" fmla="*/ 439616 h 742959"/>
                  <a:gd name="connsiteX1" fmla="*/ 115759 w 838201"/>
                  <a:gd name="connsiteY1" fmla="*/ 136274 h 742959"/>
                  <a:gd name="connsiteX2" fmla="*/ 419101 w 838201"/>
                  <a:gd name="connsiteY2" fmla="*/ 1 h 742959"/>
                  <a:gd name="connsiteX3" fmla="*/ 722443 w 838201"/>
                  <a:gd name="connsiteY3" fmla="*/ 136275 h 742959"/>
                  <a:gd name="connsiteX4" fmla="*/ 838200 w 838201"/>
                  <a:gd name="connsiteY4" fmla="*/ 439617 h 742959"/>
                  <a:gd name="connsiteX5" fmla="*/ 722442 w 838201"/>
                  <a:gd name="connsiteY5" fmla="*/ 742959 h 742959"/>
                  <a:gd name="connsiteX6" fmla="*/ 0 w 838201"/>
                  <a:gd name="connsiteY6" fmla="*/ 439617 h 742959"/>
                  <a:gd name="connsiteX7" fmla="*/ 1 w 838201"/>
                  <a:gd name="connsiteY7" fmla="*/ 439616 h 742959"/>
                  <a:gd name="connsiteX0" fmla="*/ 1 w 838201"/>
                  <a:gd name="connsiteY0" fmla="*/ 439616 h 490174"/>
                  <a:gd name="connsiteX1" fmla="*/ 115759 w 838201"/>
                  <a:gd name="connsiteY1" fmla="*/ 136274 h 490174"/>
                  <a:gd name="connsiteX2" fmla="*/ 419101 w 838201"/>
                  <a:gd name="connsiteY2" fmla="*/ 1 h 490174"/>
                  <a:gd name="connsiteX3" fmla="*/ 722443 w 838201"/>
                  <a:gd name="connsiteY3" fmla="*/ 136275 h 490174"/>
                  <a:gd name="connsiteX4" fmla="*/ 838200 w 838201"/>
                  <a:gd name="connsiteY4" fmla="*/ 439617 h 490174"/>
                  <a:gd name="connsiteX5" fmla="*/ 0 w 838201"/>
                  <a:gd name="connsiteY5" fmla="*/ 439617 h 490174"/>
                  <a:gd name="connsiteX6" fmla="*/ 1 w 838201"/>
                  <a:gd name="connsiteY6" fmla="*/ 439616 h 490174"/>
                  <a:gd name="connsiteX0" fmla="*/ 1 w 838201"/>
                  <a:gd name="connsiteY0" fmla="*/ 439616 h 439617"/>
                  <a:gd name="connsiteX1" fmla="*/ 115759 w 838201"/>
                  <a:gd name="connsiteY1" fmla="*/ 136274 h 439617"/>
                  <a:gd name="connsiteX2" fmla="*/ 419101 w 838201"/>
                  <a:gd name="connsiteY2" fmla="*/ 1 h 439617"/>
                  <a:gd name="connsiteX3" fmla="*/ 722443 w 838201"/>
                  <a:gd name="connsiteY3" fmla="*/ 136275 h 439617"/>
                  <a:gd name="connsiteX4" fmla="*/ 838200 w 838201"/>
                  <a:gd name="connsiteY4" fmla="*/ 439617 h 439617"/>
                  <a:gd name="connsiteX5" fmla="*/ 0 w 838201"/>
                  <a:gd name="connsiteY5" fmla="*/ 439617 h 439617"/>
                  <a:gd name="connsiteX6" fmla="*/ 1 w 838201"/>
                  <a:gd name="connsiteY6" fmla="*/ 439616 h 439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8201" h="439617">
                    <a:moveTo>
                      <a:pt x="1" y="439616"/>
                    </a:moveTo>
                    <a:cubicBezTo>
                      <a:pt x="1" y="326657"/>
                      <a:pt x="41453" y="218033"/>
                      <a:pt x="115759" y="136274"/>
                    </a:cubicBezTo>
                    <a:cubicBezTo>
                      <a:pt x="194853" y="49248"/>
                      <a:pt x="304476" y="0"/>
                      <a:pt x="419101" y="1"/>
                    </a:cubicBezTo>
                    <a:cubicBezTo>
                      <a:pt x="533726" y="1"/>
                      <a:pt x="643350" y="49249"/>
                      <a:pt x="722443" y="136275"/>
                    </a:cubicBezTo>
                    <a:cubicBezTo>
                      <a:pt x="796749" y="218034"/>
                      <a:pt x="838201" y="326659"/>
                      <a:pt x="838200" y="439617"/>
                    </a:cubicBezTo>
                    <a:lnTo>
                      <a:pt x="0" y="439617"/>
                    </a:lnTo>
                    <a:lnTo>
                      <a:pt x="1" y="439616"/>
                    </a:lnTo>
                    <a:close/>
                  </a:path>
                </a:pathLst>
              </a:custGeom>
              <a:gradFill flip="none" rotWithShape="1">
                <a:gsLst>
                  <a:gs pos="0">
                    <a:schemeClr val="accent2">
                      <a:lumMod val="50000"/>
                    </a:schemeClr>
                  </a:gs>
                  <a:gs pos="50000">
                    <a:schemeClr val="accent2">
                      <a:lumMod val="50000"/>
                    </a:schemeClr>
                  </a:gs>
                  <a:gs pos="100000">
                    <a:schemeClr val="accent2">
                      <a:lumMod val="75000"/>
                    </a:schemeClr>
                  </a:gs>
                </a:gsLst>
                <a:lin ang="5400000" scaled="1"/>
                <a:tileRect/>
              </a:gradFill>
              <a:ln w="9525">
                <a:gradFill>
                  <a:gsLst>
                    <a:gs pos="0">
                      <a:schemeClr val="accent2">
                        <a:lumMod val="50000"/>
                      </a:schemeClr>
                    </a:gs>
                    <a:gs pos="50000">
                      <a:schemeClr val="accent2">
                        <a:lumMod val="50000"/>
                      </a:schemeClr>
                    </a:gs>
                    <a:gs pos="100000">
                      <a:schemeClr val="accent2">
                        <a:lumMod val="75000"/>
                      </a:schemeClr>
                    </a:gs>
                  </a:gsLst>
                  <a:lin ang="5400000" scaled="0"/>
                </a:gradFill>
                <a:round/>
                <a:headEnd/>
                <a:tailEnd/>
              </a:ln>
            </p:spPr>
            <p:txBody>
              <a:bodyPr wrap="none" anchor="ctr"/>
              <a:lstStyle/>
              <a:p>
                <a:endParaRPr lang="en-US" sz="1350" dirty="0"/>
              </a:p>
            </p:txBody>
          </p:sp>
          <p:sp>
            <p:nvSpPr>
              <p:cNvPr id="216" name="Arc 5"/>
              <p:cNvSpPr>
                <a:spLocks/>
              </p:cNvSpPr>
              <p:nvPr/>
            </p:nvSpPr>
            <p:spPr bwMode="auto">
              <a:xfrm>
                <a:off x="1176338" y="1752599"/>
                <a:ext cx="304800" cy="441326"/>
              </a:xfrm>
              <a:custGeom>
                <a:avLst/>
                <a:gdLst>
                  <a:gd name="T0" fmla="*/ 0 w 21600"/>
                  <a:gd name="T1" fmla="*/ 0 h 21600"/>
                  <a:gd name="T2" fmla="*/ 192 w 21600"/>
                  <a:gd name="T3" fmla="*/ 240 h 21600"/>
                  <a:gd name="T4" fmla="*/ 0 w 21600"/>
                  <a:gd name="T5" fmla="*/ 24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gradFill>
                <a:gsLst>
                  <a:gs pos="0">
                    <a:schemeClr val="accent2">
                      <a:lumMod val="50000"/>
                    </a:schemeClr>
                  </a:gs>
                  <a:gs pos="50000">
                    <a:schemeClr val="accent2">
                      <a:lumMod val="75000"/>
                    </a:schemeClr>
                  </a:gs>
                  <a:gs pos="78000">
                    <a:schemeClr val="accent2">
                      <a:lumMod val="75000"/>
                    </a:schemeClr>
                  </a:gs>
                </a:gsLst>
                <a:lin ang="5400000" scaled="1"/>
              </a:gradFill>
              <a:ln w="9525">
                <a:noFill/>
                <a:round/>
                <a:headEnd/>
                <a:tailEnd/>
              </a:ln>
            </p:spPr>
            <p:txBody>
              <a:bodyPr wrap="none" anchor="ctr"/>
              <a:lstStyle/>
              <a:p>
                <a:endParaRPr lang="en-US" sz="1350" dirty="0"/>
              </a:p>
            </p:txBody>
          </p:sp>
          <p:sp>
            <p:nvSpPr>
              <p:cNvPr id="217" name="Arc 6"/>
              <p:cNvSpPr>
                <a:spLocks/>
              </p:cNvSpPr>
              <p:nvPr/>
            </p:nvSpPr>
            <p:spPr bwMode="auto">
              <a:xfrm flipH="1">
                <a:off x="822005" y="1755775"/>
                <a:ext cx="292417" cy="441325"/>
              </a:xfrm>
              <a:custGeom>
                <a:avLst/>
                <a:gdLst>
                  <a:gd name="T0" fmla="*/ 0 w 21600"/>
                  <a:gd name="T1" fmla="*/ 0 h 21600"/>
                  <a:gd name="T2" fmla="*/ 192 w 21600"/>
                  <a:gd name="T3" fmla="*/ 240 h 21600"/>
                  <a:gd name="T4" fmla="*/ 0 w 21600"/>
                  <a:gd name="T5" fmla="*/ 24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gradFill>
                <a:gsLst>
                  <a:gs pos="0">
                    <a:schemeClr val="accent2">
                      <a:lumMod val="50000"/>
                    </a:schemeClr>
                  </a:gs>
                  <a:gs pos="50000">
                    <a:schemeClr val="accent2">
                      <a:lumMod val="75000"/>
                    </a:schemeClr>
                  </a:gs>
                  <a:gs pos="78000">
                    <a:schemeClr val="accent2">
                      <a:lumMod val="75000"/>
                    </a:schemeClr>
                  </a:gs>
                </a:gsLst>
                <a:lin ang="5400000" scaled="1"/>
              </a:gradFill>
              <a:ln w="9525">
                <a:noFill/>
                <a:round/>
                <a:headEnd/>
                <a:tailEnd/>
              </a:ln>
            </p:spPr>
            <p:txBody>
              <a:bodyPr wrap="none" anchor="ctr"/>
              <a:lstStyle/>
              <a:p>
                <a:endParaRPr lang="en-US" sz="1350" dirty="0"/>
              </a:p>
            </p:txBody>
          </p:sp>
          <p:sp>
            <p:nvSpPr>
              <p:cNvPr id="218" name="Arc 7"/>
              <p:cNvSpPr>
                <a:spLocks/>
              </p:cNvSpPr>
              <p:nvPr/>
            </p:nvSpPr>
            <p:spPr bwMode="auto">
              <a:xfrm>
                <a:off x="1148557" y="1751499"/>
                <a:ext cx="254000" cy="445601"/>
              </a:xfrm>
              <a:custGeom>
                <a:avLst/>
                <a:gdLst>
                  <a:gd name="T0" fmla="*/ 12 w 21600"/>
                  <a:gd name="T1" fmla="*/ 0 h 21541"/>
                  <a:gd name="T2" fmla="*/ 160 w 21600"/>
                  <a:gd name="T3" fmla="*/ 239 h 21541"/>
                  <a:gd name="T4" fmla="*/ 0 w 21600"/>
                  <a:gd name="T5" fmla="*/ 239 h 21541"/>
                  <a:gd name="T6" fmla="*/ 0 60000 65536"/>
                  <a:gd name="T7" fmla="*/ 0 60000 65536"/>
                  <a:gd name="T8" fmla="*/ 0 60000 65536"/>
                  <a:gd name="T9" fmla="*/ 0 w 21600"/>
                  <a:gd name="T10" fmla="*/ 0 h 21541"/>
                  <a:gd name="T11" fmla="*/ 21600 w 21600"/>
                  <a:gd name="T12" fmla="*/ 21541 h 21541"/>
                </a:gdLst>
                <a:ahLst/>
                <a:cxnLst>
                  <a:cxn ang="T6">
                    <a:pos x="T0" y="T1"/>
                  </a:cxn>
                  <a:cxn ang="T7">
                    <a:pos x="T2" y="T3"/>
                  </a:cxn>
                  <a:cxn ang="T8">
                    <a:pos x="T4" y="T5"/>
                  </a:cxn>
                </a:cxnLst>
                <a:rect l="T9" t="T10" r="T11" b="T12"/>
                <a:pathLst>
                  <a:path w="21600" h="21541" fill="none" extrusionOk="0">
                    <a:moveTo>
                      <a:pt x="1589" y="-1"/>
                    </a:moveTo>
                    <a:cubicBezTo>
                      <a:pt x="12871" y="831"/>
                      <a:pt x="21600" y="10228"/>
                      <a:pt x="21600" y="21541"/>
                    </a:cubicBezTo>
                  </a:path>
                  <a:path w="21600" h="21541" stroke="0" extrusionOk="0">
                    <a:moveTo>
                      <a:pt x="1589" y="-1"/>
                    </a:moveTo>
                    <a:cubicBezTo>
                      <a:pt x="12871" y="831"/>
                      <a:pt x="21600" y="10228"/>
                      <a:pt x="21600" y="21541"/>
                    </a:cubicBezTo>
                    <a:lnTo>
                      <a:pt x="0" y="21541"/>
                    </a:lnTo>
                    <a:close/>
                  </a:path>
                </a:pathLst>
              </a:custGeom>
              <a:gradFill>
                <a:gsLst>
                  <a:gs pos="0">
                    <a:schemeClr val="accent2">
                      <a:lumMod val="50000"/>
                    </a:schemeClr>
                  </a:gs>
                  <a:gs pos="50000">
                    <a:schemeClr val="accent2">
                      <a:lumMod val="75000"/>
                    </a:schemeClr>
                  </a:gs>
                  <a:gs pos="78000">
                    <a:schemeClr val="accent2">
                      <a:lumMod val="75000"/>
                    </a:schemeClr>
                  </a:gs>
                </a:gsLst>
                <a:lin ang="5400000" scaled="1"/>
              </a:gradFill>
              <a:ln w="9525">
                <a:noFill/>
                <a:round/>
                <a:headEnd/>
                <a:tailEnd/>
              </a:ln>
            </p:spPr>
            <p:txBody>
              <a:bodyPr wrap="none" anchor="ctr"/>
              <a:lstStyle/>
              <a:p>
                <a:endParaRPr lang="en-US" sz="1350" dirty="0"/>
              </a:p>
            </p:txBody>
          </p:sp>
          <p:sp>
            <p:nvSpPr>
              <p:cNvPr id="219" name="Arc 9"/>
              <p:cNvSpPr>
                <a:spLocks/>
              </p:cNvSpPr>
              <p:nvPr/>
            </p:nvSpPr>
            <p:spPr bwMode="auto">
              <a:xfrm flipH="1">
                <a:off x="1022350" y="1754980"/>
                <a:ext cx="101600" cy="437784"/>
              </a:xfrm>
              <a:custGeom>
                <a:avLst/>
                <a:gdLst>
                  <a:gd name="T0" fmla="*/ 5 w 21600"/>
                  <a:gd name="T1" fmla="*/ 0 h 21541"/>
                  <a:gd name="T2" fmla="*/ 64 w 21600"/>
                  <a:gd name="T3" fmla="*/ 239 h 21541"/>
                  <a:gd name="T4" fmla="*/ 0 w 21600"/>
                  <a:gd name="T5" fmla="*/ 239 h 21541"/>
                  <a:gd name="T6" fmla="*/ 0 60000 65536"/>
                  <a:gd name="T7" fmla="*/ 0 60000 65536"/>
                  <a:gd name="T8" fmla="*/ 0 60000 65536"/>
                  <a:gd name="T9" fmla="*/ 0 w 21600"/>
                  <a:gd name="T10" fmla="*/ 0 h 21541"/>
                  <a:gd name="T11" fmla="*/ 21600 w 21600"/>
                  <a:gd name="T12" fmla="*/ 21541 h 21541"/>
                </a:gdLst>
                <a:ahLst/>
                <a:cxnLst>
                  <a:cxn ang="T6">
                    <a:pos x="T0" y="T1"/>
                  </a:cxn>
                  <a:cxn ang="T7">
                    <a:pos x="T2" y="T3"/>
                  </a:cxn>
                  <a:cxn ang="T8">
                    <a:pos x="T4" y="T5"/>
                  </a:cxn>
                </a:cxnLst>
                <a:rect l="T9" t="T10" r="T11" b="T12"/>
                <a:pathLst>
                  <a:path w="21600" h="21541" fill="none" extrusionOk="0">
                    <a:moveTo>
                      <a:pt x="1589" y="-1"/>
                    </a:moveTo>
                    <a:cubicBezTo>
                      <a:pt x="12871" y="831"/>
                      <a:pt x="21600" y="10228"/>
                      <a:pt x="21600" y="21541"/>
                    </a:cubicBezTo>
                  </a:path>
                  <a:path w="21600" h="21541" stroke="0" extrusionOk="0">
                    <a:moveTo>
                      <a:pt x="1589" y="-1"/>
                    </a:moveTo>
                    <a:cubicBezTo>
                      <a:pt x="12871" y="831"/>
                      <a:pt x="21600" y="10228"/>
                      <a:pt x="21600" y="21541"/>
                    </a:cubicBezTo>
                    <a:lnTo>
                      <a:pt x="0" y="21541"/>
                    </a:lnTo>
                    <a:close/>
                  </a:path>
                </a:pathLst>
              </a:custGeom>
              <a:gradFill>
                <a:gsLst>
                  <a:gs pos="0">
                    <a:schemeClr val="accent2">
                      <a:lumMod val="50000"/>
                    </a:schemeClr>
                  </a:gs>
                  <a:gs pos="50000">
                    <a:schemeClr val="accent2">
                      <a:lumMod val="50000"/>
                    </a:schemeClr>
                  </a:gs>
                  <a:gs pos="78000">
                    <a:schemeClr val="accent2">
                      <a:lumMod val="75000"/>
                    </a:schemeClr>
                  </a:gs>
                </a:gsLst>
                <a:lin ang="5400000" scaled="1"/>
              </a:gradFill>
              <a:ln w="9525">
                <a:noFill/>
                <a:round/>
                <a:headEnd/>
                <a:tailEnd/>
              </a:ln>
            </p:spPr>
            <p:txBody>
              <a:bodyPr wrap="none" anchor="ctr"/>
              <a:lstStyle/>
              <a:p>
                <a:endParaRPr lang="en-US" sz="1350" dirty="0"/>
              </a:p>
            </p:txBody>
          </p:sp>
          <p:sp>
            <p:nvSpPr>
              <p:cNvPr id="220" name="Arc 10"/>
              <p:cNvSpPr>
                <a:spLocks/>
              </p:cNvSpPr>
              <p:nvPr/>
            </p:nvSpPr>
            <p:spPr bwMode="auto">
              <a:xfrm>
                <a:off x="1154113" y="1752599"/>
                <a:ext cx="101600" cy="441326"/>
              </a:xfrm>
              <a:custGeom>
                <a:avLst/>
                <a:gdLst>
                  <a:gd name="T0" fmla="*/ 5 w 21600"/>
                  <a:gd name="T1" fmla="*/ 0 h 21541"/>
                  <a:gd name="T2" fmla="*/ 64 w 21600"/>
                  <a:gd name="T3" fmla="*/ 239 h 21541"/>
                  <a:gd name="T4" fmla="*/ 0 w 21600"/>
                  <a:gd name="T5" fmla="*/ 239 h 21541"/>
                  <a:gd name="T6" fmla="*/ 0 60000 65536"/>
                  <a:gd name="T7" fmla="*/ 0 60000 65536"/>
                  <a:gd name="T8" fmla="*/ 0 60000 65536"/>
                  <a:gd name="T9" fmla="*/ 0 w 21600"/>
                  <a:gd name="T10" fmla="*/ 0 h 21541"/>
                  <a:gd name="T11" fmla="*/ 21600 w 21600"/>
                  <a:gd name="T12" fmla="*/ 21541 h 21541"/>
                </a:gdLst>
                <a:ahLst/>
                <a:cxnLst>
                  <a:cxn ang="T6">
                    <a:pos x="T0" y="T1"/>
                  </a:cxn>
                  <a:cxn ang="T7">
                    <a:pos x="T2" y="T3"/>
                  </a:cxn>
                  <a:cxn ang="T8">
                    <a:pos x="T4" y="T5"/>
                  </a:cxn>
                </a:cxnLst>
                <a:rect l="T9" t="T10" r="T11" b="T12"/>
                <a:pathLst>
                  <a:path w="21600" h="21541" fill="none" extrusionOk="0">
                    <a:moveTo>
                      <a:pt x="1589" y="-1"/>
                    </a:moveTo>
                    <a:cubicBezTo>
                      <a:pt x="12871" y="831"/>
                      <a:pt x="21600" y="10228"/>
                      <a:pt x="21600" y="21541"/>
                    </a:cubicBezTo>
                  </a:path>
                  <a:path w="21600" h="21541" stroke="0" extrusionOk="0">
                    <a:moveTo>
                      <a:pt x="1589" y="-1"/>
                    </a:moveTo>
                    <a:cubicBezTo>
                      <a:pt x="12871" y="831"/>
                      <a:pt x="21600" y="10228"/>
                      <a:pt x="21600" y="21541"/>
                    </a:cubicBezTo>
                    <a:lnTo>
                      <a:pt x="0" y="21541"/>
                    </a:lnTo>
                    <a:close/>
                  </a:path>
                </a:pathLst>
              </a:custGeom>
              <a:gradFill>
                <a:gsLst>
                  <a:gs pos="0">
                    <a:schemeClr val="accent2">
                      <a:lumMod val="50000"/>
                    </a:schemeClr>
                  </a:gs>
                  <a:gs pos="50000">
                    <a:schemeClr val="accent2">
                      <a:lumMod val="50000"/>
                    </a:schemeClr>
                  </a:gs>
                  <a:gs pos="78000">
                    <a:schemeClr val="accent2">
                      <a:lumMod val="75000"/>
                    </a:schemeClr>
                  </a:gs>
                </a:gsLst>
                <a:lin ang="5400000" scaled="1"/>
              </a:gradFill>
              <a:ln w="9525">
                <a:noFill/>
                <a:round/>
                <a:headEnd/>
                <a:tailEnd/>
              </a:ln>
            </p:spPr>
            <p:txBody>
              <a:bodyPr wrap="none" anchor="ctr"/>
              <a:lstStyle/>
              <a:p>
                <a:endParaRPr lang="en-US" sz="1350" dirty="0"/>
              </a:p>
            </p:txBody>
          </p:sp>
          <p:sp>
            <p:nvSpPr>
              <p:cNvPr id="221" name="Line 11"/>
              <p:cNvSpPr>
                <a:spLocks noChangeShapeType="1"/>
              </p:cNvSpPr>
              <p:nvPr/>
            </p:nvSpPr>
            <p:spPr bwMode="auto">
              <a:xfrm>
                <a:off x="1157285" y="1749424"/>
                <a:ext cx="0" cy="450851"/>
              </a:xfrm>
              <a:prstGeom prst="line">
                <a:avLst/>
              </a:prstGeom>
              <a:noFill/>
              <a:ln w="9525">
                <a:gradFill>
                  <a:gsLst>
                    <a:gs pos="0">
                      <a:schemeClr val="accent2">
                        <a:lumMod val="50000"/>
                      </a:schemeClr>
                    </a:gs>
                    <a:gs pos="50000">
                      <a:schemeClr val="accent2">
                        <a:lumMod val="50000"/>
                      </a:schemeClr>
                    </a:gs>
                    <a:gs pos="100000">
                      <a:schemeClr val="accent2">
                        <a:lumMod val="75000"/>
                      </a:schemeClr>
                    </a:gs>
                  </a:gsLst>
                  <a:lin ang="5400000" scaled="0"/>
                </a:gradFill>
                <a:round/>
                <a:headEnd/>
                <a:tailEnd/>
              </a:ln>
            </p:spPr>
            <p:txBody>
              <a:bodyPr wrap="none" anchor="ctr"/>
              <a:lstStyle/>
              <a:p>
                <a:endParaRPr lang="en-US" sz="1350" dirty="0"/>
              </a:p>
            </p:txBody>
          </p:sp>
        </p:grpSp>
      </p:grpSp>
      <p:grpSp>
        <p:nvGrpSpPr>
          <p:cNvPr id="186" name="Group 5"/>
          <p:cNvGrpSpPr>
            <a:grpSpLocks noChangeAspect="1"/>
          </p:cNvGrpSpPr>
          <p:nvPr/>
        </p:nvGrpSpPr>
        <p:grpSpPr>
          <a:xfrm>
            <a:off x="7185500" y="876410"/>
            <a:ext cx="411234" cy="981936"/>
            <a:chOff x="741362" y="1755648"/>
            <a:chExt cx="838201" cy="2001438"/>
          </a:xfrm>
          <a:effectLst>
            <a:outerShdw blurRad="50800" dist="38100" algn="l" rotWithShape="0">
              <a:prstClr val="black">
                <a:alpha val="40000"/>
              </a:prstClr>
            </a:outerShdw>
          </a:effectLst>
        </p:grpSpPr>
        <p:sp>
          <p:nvSpPr>
            <p:cNvPr id="187" name="Rectangle 4"/>
            <p:cNvSpPr>
              <a:spLocks noChangeArrowheads="1"/>
            </p:cNvSpPr>
            <p:nvPr/>
          </p:nvSpPr>
          <p:spPr bwMode="auto">
            <a:xfrm>
              <a:off x="741362" y="2213932"/>
              <a:ext cx="838200" cy="1543154"/>
            </a:xfrm>
            <a:prstGeom prst="rect">
              <a:avLst/>
            </a:prstGeom>
            <a:gradFill flip="none" rotWithShape="1">
              <a:gsLst>
                <a:gs pos="0">
                  <a:schemeClr val="accent5">
                    <a:lumMod val="50000"/>
                  </a:schemeClr>
                </a:gs>
                <a:gs pos="50000">
                  <a:schemeClr val="accent5">
                    <a:lumMod val="75000"/>
                  </a:schemeClr>
                </a:gs>
                <a:gs pos="100000">
                  <a:schemeClr val="accent5">
                    <a:lumMod val="50000"/>
                  </a:schemeClr>
                </a:gs>
              </a:gsLst>
              <a:lin ang="10800000" scaled="1"/>
              <a:tileRect/>
            </a:gradFill>
            <a:ln w="9525">
              <a:gradFill>
                <a:gsLst>
                  <a:gs pos="0">
                    <a:schemeClr val="accent5">
                      <a:lumMod val="50000"/>
                    </a:schemeClr>
                  </a:gs>
                  <a:gs pos="50000">
                    <a:schemeClr val="accent5">
                      <a:lumMod val="50000"/>
                    </a:schemeClr>
                  </a:gs>
                  <a:gs pos="100000">
                    <a:schemeClr val="accent5">
                      <a:lumMod val="75000"/>
                    </a:schemeClr>
                  </a:gs>
                </a:gsLst>
                <a:lin ang="5400000" scaled="0"/>
              </a:gradFill>
              <a:miter lim="800000"/>
              <a:headEnd/>
              <a:tailEnd/>
            </a:ln>
          </p:spPr>
          <p:txBody>
            <a:bodyPr vert="vert270" wrap="none" anchor="ctr"/>
            <a:lstStyle/>
            <a:p>
              <a:pPr algn="ctr"/>
              <a:endParaRPr lang="en-US" sz="1350" b="1" dirty="0">
                <a:ln>
                  <a:solidFill>
                    <a:schemeClr val="bg1">
                      <a:alpha val="0"/>
                    </a:schemeClr>
                  </a:solidFill>
                </a:ln>
                <a:solidFill>
                  <a:schemeClr val="bg1"/>
                </a:solidFill>
              </a:endParaRPr>
            </a:p>
          </p:txBody>
        </p:sp>
        <p:grpSp>
          <p:nvGrpSpPr>
            <p:cNvPr id="188" name="Group 37"/>
            <p:cNvGrpSpPr/>
            <p:nvPr/>
          </p:nvGrpSpPr>
          <p:grpSpPr>
            <a:xfrm>
              <a:off x="741362" y="1755648"/>
              <a:ext cx="838201" cy="450851"/>
              <a:chOff x="738186" y="1749424"/>
              <a:chExt cx="838201" cy="450851"/>
            </a:xfrm>
          </p:grpSpPr>
          <p:sp>
            <p:nvSpPr>
              <p:cNvPr id="189" name="Oval 3"/>
              <p:cNvSpPr>
                <a:spLocks noChangeArrowheads="1"/>
              </p:cNvSpPr>
              <p:nvPr/>
            </p:nvSpPr>
            <p:spPr bwMode="auto">
              <a:xfrm>
                <a:off x="738186" y="1752597"/>
                <a:ext cx="838201" cy="447678"/>
              </a:xfrm>
              <a:custGeom>
                <a:avLst/>
                <a:gdLst>
                  <a:gd name="connsiteX0" fmla="*/ 0 w 838200"/>
                  <a:gd name="connsiteY0" fmla="*/ 439616 h 879231"/>
                  <a:gd name="connsiteX1" fmla="*/ 115758 w 838200"/>
                  <a:gd name="connsiteY1" fmla="*/ 136274 h 879231"/>
                  <a:gd name="connsiteX2" fmla="*/ 419100 w 838200"/>
                  <a:gd name="connsiteY2" fmla="*/ 1 h 879231"/>
                  <a:gd name="connsiteX3" fmla="*/ 722442 w 838200"/>
                  <a:gd name="connsiteY3" fmla="*/ 136275 h 879231"/>
                  <a:gd name="connsiteX4" fmla="*/ 838199 w 838200"/>
                  <a:gd name="connsiteY4" fmla="*/ 439617 h 879231"/>
                  <a:gd name="connsiteX5" fmla="*/ 722441 w 838200"/>
                  <a:gd name="connsiteY5" fmla="*/ 742959 h 879231"/>
                  <a:gd name="connsiteX6" fmla="*/ 419099 w 838200"/>
                  <a:gd name="connsiteY6" fmla="*/ 879233 h 879231"/>
                  <a:gd name="connsiteX7" fmla="*/ 115757 w 838200"/>
                  <a:gd name="connsiteY7" fmla="*/ 742959 h 879231"/>
                  <a:gd name="connsiteX8" fmla="*/ -1 w 838200"/>
                  <a:gd name="connsiteY8" fmla="*/ 439617 h 879231"/>
                  <a:gd name="connsiteX9" fmla="*/ 0 w 838200"/>
                  <a:gd name="connsiteY9" fmla="*/ 439616 h 879231"/>
                  <a:gd name="connsiteX0" fmla="*/ 1 w 838201"/>
                  <a:gd name="connsiteY0" fmla="*/ 439616 h 793516"/>
                  <a:gd name="connsiteX1" fmla="*/ 115759 w 838201"/>
                  <a:gd name="connsiteY1" fmla="*/ 136274 h 793516"/>
                  <a:gd name="connsiteX2" fmla="*/ 419101 w 838201"/>
                  <a:gd name="connsiteY2" fmla="*/ 1 h 793516"/>
                  <a:gd name="connsiteX3" fmla="*/ 722443 w 838201"/>
                  <a:gd name="connsiteY3" fmla="*/ 136275 h 793516"/>
                  <a:gd name="connsiteX4" fmla="*/ 838200 w 838201"/>
                  <a:gd name="connsiteY4" fmla="*/ 439617 h 793516"/>
                  <a:gd name="connsiteX5" fmla="*/ 722442 w 838201"/>
                  <a:gd name="connsiteY5" fmla="*/ 742959 h 793516"/>
                  <a:gd name="connsiteX6" fmla="*/ 115758 w 838201"/>
                  <a:gd name="connsiteY6" fmla="*/ 742959 h 793516"/>
                  <a:gd name="connsiteX7" fmla="*/ 0 w 838201"/>
                  <a:gd name="connsiteY7" fmla="*/ 439617 h 793516"/>
                  <a:gd name="connsiteX8" fmla="*/ 1 w 838201"/>
                  <a:gd name="connsiteY8" fmla="*/ 439616 h 793516"/>
                  <a:gd name="connsiteX0" fmla="*/ 1 w 838201"/>
                  <a:gd name="connsiteY0" fmla="*/ 439616 h 742959"/>
                  <a:gd name="connsiteX1" fmla="*/ 115759 w 838201"/>
                  <a:gd name="connsiteY1" fmla="*/ 136274 h 742959"/>
                  <a:gd name="connsiteX2" fmla="*/ 419101 w 838201"/>
                  <a:gd name="connsiteY2" fmla="*/ 1 h 742959"/>
                  <a:gd name="connsiteX3" fmla="*/ 722443 w 838201"/>
                  <a:gd name="connsiteY3" fmla="*/ 136275 h 742959"/>
                  <a:gd name="connsiteX4" fmla="*/ 838200 w 838201"/>
                  <a:gd name="connsiteY4" fmla="*/ 439617 h 742959"/>
                  <a:gd name="connsiteX5" fmla="*/ 722442 w 838201"/>
                  <a:gd name="connsiteY5" fmla="*/ 742959 h 742959"/>
                  <a:gd name="connsiteX6" fmla="*/ 0 w 838201"/>
                  <a:gd name="connsiteY6" fmla="*/ 439617 h 742959"/>
                  <a:gd name="connsiteX7" fmla="*/ 1 w 838201"/>
                  <a:gd name="connsiteY7" fmla="*/ 439616 h 742959"/>
                  <a:gd name="connsiteX0" fmla="*/ 1 w 838201"/>
                  <a:gd name="connsiteY0" fmla="*/ 439616 h 490174"/>
                  <a:gd name="connsiteX1" fmla="*/ 115759 w 838201"/>
                  <a:gd name="connsiteY1" fmla="*/ 136274 h 490174"/>
                  <a:gd name="connsiteX2" fmla="*/ 419101 w 838201"/>
                  <a:gd name="connsiteY2" fmla="*/ 1 h 490174"/>
                  <a:gd name="connsiteX3" fmla="*/ 722443 w 838201"/>
                  <a:gd name="connsiteY3" fmla="*/ 136275 h 490174"/>
                  <a:gd name="connsiteX4" fmla="*/ 838200 w 838201"/>
                  <a:gd name="connsiteY4" fmla="*/ 439617 h 490174"/>
                  <a:gd name="connsiteX5" fmla="*/ 0 w 838201"/>
                  <a:gd name="connsiteY5" fmla="*/ 439617 h 490174"/>
                  <a:gd name="connsiteX6" fmla="*/ 1 w 838201"/>
                  <a:gd name="connsiteY6" fmla="*/ 439616 h 490174"/>
                  <a:gd name="connsiteX0" fmla="*/ 1 w 838201"/>
                  <a:gd name="connsiteY0" fmla="*/ 439616 h 439617"/>
                  <a:gd name="connsiteX1" fmla="*/ 115759 w 838201"/>
                  <a:gd name="connsiteY1" fmla="*/ 136274 h 439617"/>
                  <a:gd name="connsiteX2" fmla="*/ 419101 w 838201"/>
                  <a:gd name="connsiteY2" fmla="*/ 1 h 439617"/>
                  <a:gd name="connsiteX3" fmla="*/ 722443 w 838201"/>
                  <a:gd name="connsiteY3" fmla="*/ 136275 h 439617"/>
                  <a:gd name="connsiteX4" fmla="*/ 838200 w 838201"/>
                  <a:gd name="connsiteY4" fmla="*/ 439617 h 439617"/>
                  <a:gd name="connsiteX5" fmla="*/ 0 w 838201"/>
                  <a:gd name="connsiteY5" fmla="*/ 439617 h 439617"/>
                  <a:gd name="connsiteX6" fmla="*/ 1 w 838201"/>
                  <a:gd name="connsiteY6" fmla="*/ 439616 h 439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8201" h="439617">
                    <a:moveTo>
                      <a:pt x="1" y="439616"/>
                    </a:moveTo>
                    <a:cubicBezTo>
                      <a:pt x="1" y="326657"/>
                      <a:pt x="41453" y="218033"/>
                      <a:pt x="115759" y="136274"/>
                    </a:cubicBezTo>
                    <a:cubicBezTo>
                      <a:pt x="194853" y="49248"/>
                      <a:pt x="304476" y="0"/>
                      <a:pt x="419101" y="1"/>
                    </a:cubicBezTo>
                    <a:cubicBezTo>
                      <a:pt x="533726" y="1"/>
                      <a:pt x="643350" y="49249"/>
                      <a:pt x="722443" y="136275"/>
                    </a:cubicBezTo>
                    <a:cubicBezTo>
                      <a:pt x="796749" y="218034"/>
                      <a:pt x="838201" y="326659"/>
                      <a:pt x="838200" y="439617"/>
                    </a:cubicBezTo>
                    <a:lnTo>
                      <a:pt x="0" y="439617"/>
                    </a:lnTo>
                    <a:lnTo>
                      <a:pt x="1" y="439616"/>
                    </a:lnTo>
                    <a:close/>
                  </a:path>
                </a:pathLst>
              </a:custGeom>
              <a:gradFill flip="none" rotWithShape="1">
                <a:gsLst>
                  <a:gs pos="0">
                    <a:schemeClr val="accent5">
                      <a:lumMod val="50000"/>
                    </a:schemeClr>
                  </a:gs>
                  <a:gs pos="50000">
                    <a:schemeClr val="accent5">
                      <a:lumMod val="50000"/>
                    </a:schemeClr>
                  </a:gs>
                  <a:gs pos="100000">
                    <a:schemeClr val="accent5">
                      <a:lumMod val="75000"/>
                    </a:schemeClr>
                  </a:gs>
                </a:gsLst>
                <a:lin ang="5400000" scaled="1"/>
                <a:tileRect/>
              </a:gradFill>
              <a:ln w="9525">
                <a:gradFill>
                  <a:gsLst>
                    <a:gs pos="0">
                      <a:schemeClr val="accent5">
                        <a:lumMod val="50000"/>
                      </a:schemeClr>
                    </a:gs>
                    <a:gs pos="50000">
                      <a:schemeClr val="accent5">
                        <a:lumMod val="50000"/>
                      </a:schemeClr>
                    </a:gs>
                    <a:gs pos="100000">
                      <a:schemeClr val="accent5">
                        <a:lumMod val="75000"/>
                      </a:schemeClr>
                    </a:gs>
                  </a:gsLst>
                  <a:lin ang="5400000" scaled="0"/>
                </a:gradFill>
                <a:round/>
                <a:headEnd/>
                <a:tailEnd/>
              </a:ln>
            </p:spPr>
            <p:txBody>
              <a:bodyPr wrap="none" anchor="ctr"/>
              <a:lstStyle/>
              <a:p>
                <a:endParaRPr lang="en-US" sz="1350" dirty="0"/>
              </a:p>
            </p:txBody>
          </p:sp>
          <p:sp>
            <p:nvSpPr>
              <p:cNvPr id="190" name="Arc 5"/>
              <p:cNvSpPr>
                <a:spLocks/>
              </p:cNvSpPr>
              <p:nvPr/>
            </p:nvSpPr>
            <p:spPr bwMode="auto">
              <a:xfrm>
                <a:off x="1176338" y="1752599"/>
                <a:ext cx="304800" cy="441326"/>
              </a:xfrm>
              <a:custGeom>
                <a:avLst/>
                <a:gdLst>
                  <a:gd name="T0" fmla="*/ 0 w 21600"/>
                  <a:gd name="T1" fmla="*/ 0 h 21600"/>
                  <a:gd name="T2" fmla="*/ 192 w 21600"/>
                  <a:gd name="T3" fmla="*/ 240 h 21600"/>
                  <a:gd name="T4" fmla="*/ 0 w 21600"/>
                  <a:gd name="T5" fmla="*/ 24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gradFill>
                <a:gsLst>
                  <a:gs pos="0">
                    <a:schemeClr val="accent5">
                      <a:lumMod val="50000"/>
                    </a:schemeClr>
                  </a:gs>
                  <a:gs pos="50000">
                    <a:schemeClr val="accent5">
                      <a:lumMod val="50000"/>
                    </a:schemeClr>
                  </a:gs>
                  <a:gs pos="100000">
                    <a:schemeClr val="accent5">
                      <a:lumMod val="75000"/>
                    </a:schemeClr>
                  </a:gs>
                </a:gsLst>
                <a:lin ang="5400000" scaled="1"/>
              </a:gradFill>
              <a:ln w="9525">
                <a:gradFill>
                  <a:gsLst>
                    <a:gs pos="0">
                      <a:schemeClr val="accent5">
                        <a:lumMod val="50000"/>
                      </a:schemeClr>
                    </a:gs>
                    <a:gs pos="50000">
                      <a:schemeClr val="accent5">
                        <a:lumMod val="50000"/>
                      </a:schemeClr>
                    </a:gs>
                    <a:gs pos="100000">
                      <a:schemeClr val="accent5">
                        <a:lumMod val="75000"/>
                      </a:schemeClr>
                    </a:gs>
                  </a:gsLst>
                  <a:lin ang="5400000" scaled="0"/>
                </a:gradFill>
                <a:round/>
                <a:headEnd/>
                <a:tailEnd/>
              </a:ln>
            </p:spPr>
            <p:txBody>
              <a:bodyPr wrap="none" anchor="ctr"/>
              <a:lstStyle/>
              <a:p>
                <a:endParaRPr lang="en-US" sz="1350" dirty="0"/>
              </a:p>
            </p:txBody>
          </p:sp>
          <p:sp>
            <p:nvSpPr>
              <p:cNvPr id="191" name="Arc 6"/>
              <p:cNvSpPr>
                <a:spLocks/>
              </p:cNvSpPr>
              <p:nvPr/>
            </p:nvSpPr>
            <p:spPr bwMode="auto">
              <a:xfrm flipH="1">
                <a:off x="822005" y="1755775"/>
                <a:ext cx="292417" cy="441325"/>
              </a:xfrm>
              <a:custGeom>
                <a:avLst/>
                <a:gdLst>
                  <a:gd name="T0" fmla="*/ 0 w 21600"/>
                  <a:gd name="T1" fmla="*/ 0 h 21600"/>
                  <a:gd name="T2" fmla="*/ 192 w 21600"/>
                  <a:gd name="T3" fmla="*/ 240 h 21600"/>
                  <a:gd name="T4" fmla="*/ 0 w 21600"/>
                  <a:gd name="T5" fmla="*/ 24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gradFill>
                <a:gsLst>
                  <a:gs pos="0">
                    <a:schemeClr val="accent5">
                      <a:lumMod val="50000"/>
                    </a:schemeClr>
                  </a:gs>
                  <a:gs pos="50000">
                    <a:schemeClr val="accent5">
                      <a:lumMod val="75000"/>
                    </a:schemeClr>
                  </a:gs>
                  <a:gs pos="100000">
                    <a:schemeClr val="accent5">
                      <a:lumMod val="75000"/>
                    </a:schemeClr>
                  </a:gs>
                </a:gsLst>
                <a:lin ang="5400000" scaled="1"/>
              </a:gradFill>
              <a:ln w="9525">
                <a:gradFill>
                  <a:gsLst>
                    <a:gs pos="0">
                      <a:schemeClr val="accent5">
                        <a:lumMod val="50000"/>
                      </a:schemeClr>
                    </a:gs>
                    <a:gs pos="50000">
                      <a:schemeClr val="accent5">
                        <a:lumMod val="50000"/>
                      </a:schemeClr>
                    </a:gs>
                    <a:gs pos="100000">
                      <a:schemeClr val="accent5">
                        <a:lumMod val="75000"/>
                      </a:schemeClr>
                    </a:gs>
                  </a:gsLst>
                  <a:lin ang="5400000" scaled="0"/>
                </a:gradFill>
                <a:round/>
                <a:headEnd/>
                <a:tailEnd/>
              </a:ln>
            </p:spPr>
            <p:txBody>
              <a:bodyPr wrap="none" anchor="ctr"/>
              <a:lstStyle/>
              <a:p>
                <a:endParaRPr lang="en-US" sz="1350" dirty="0"/>
              </a:p>
            </p:txBody>
          </p:sp>
          <p:sp>
            <p:nvSpPr>
              <p:cNvPr id="192" name="Arc 7"/>
              <p:cNvSpPr>
                <a:spLocks/>
              </p:cNvSpPr>
              <p:nvPr/>
            </p:nvSpPr>
            <p:spPr bwMode="auto">
              <a:xfrm>
                <a:off x="1148557" y="1751499"/>
                <a:ext cx="254000" cy="445601"/>
              </a:xfrm>
              <a:custGeom>
                <a:avLst/>
                <a:gdLst>
                  <a:gd name="T0" fmla="*/ 12 w 21600"/>
                  <a:gd name="T1" fmla="*/ 0 h 21541"/>
                  <a:gd name="T2" fmla="*/ 160 w 21600"/>
                  <a:gd name="T3" fmla="*/ 239 h 21541"/>
                  <a:gd name="T4" fmla="*/ 0 w 21600"/>
                  <a:gd name="T5" fmla="*/ 239 h 21541"/>
                  <a:gd name="T6" fmla="*/ 0 60000 65536"/>
                  <a:gd name="T7" fmla="*/ 0 60000 65536"/>
                  <a:gd name="T8" fmla="*/ 0 60000 65536"/>
                  <a:gd name="T9" fmla="*/ 0 w 21600"/>
                  <a:gd name="T10" fmla="*/ 0 h 21541"/>
                  <a:gd name="T11" fmla="*/ 21600 w 21600"/>
                  <a:gd name="T12" fmla="*/ 21541 h 21541"/>
                </a:gdLst>
                <a:ahLst/>
                <a:cxnLst>
                  <a:cxn ang="T6">
                    <a:pos x="T0" y="T1"/>
                  </a:cxn>
                  <a:cxn ang="T7">
                    <a:pos x="T2" y="T3"/>
                  </a:cxn>
                  <a:cxn ang="T8">
                    <a:pos x="T4" y="T5"/>
                  </a:cxn>
                </a:cxnLst>
                <a:rect l="T9" t="T10" r="T11" b="T12"/>
                <a:pathLst>
                  <a:path w="21600" h="21541" fill="none" extrusionOk="0">
                    <a:moveTo>
                      <a:pt x="1589" y="-1"/>
                    </a:moveTo>
                    <a:cubicBezTo>
                      <a:pt x="12871" y="831"/>
                      <a:pt x="21600" y="10228"/>
                      <a:pt x="21600" y="21541"/>
                    </a:cubicBezTo>
                  </a:path>
                  <a:path w="21600" h="21541" stroke="0" extrusionOk="0">
                    <a:moveTo>
                      <a:pt x="1589" y="-1"/>
                    </a:moveTo>
                    <a:cubicBezTo>
                      <a:pt x="12871" y="831"/>
                      <a:pt x="21600" y="10228"/>
                      <a:pt x="21600" y="21541"/>
                    </a:cubicBezTo>
                    <a:lnTo>
                      <a:pt x="0" y="21541"/>
                    </a:lnTo>
                    <a:close/>
                  </a:path>
                </a:pathLst>
              </a:custGeom>
              <a:gradFill>
                <a:gsLst>
                  <a:gs pos="0">
                    <a:schemeClr val="accent5">
                      <a:lumMod val="50000"/>
                    </a:schemeClr>
                  </a:gs>
                  <a:gs pos="50000">
                    <a:schemeClr val="accent5">
                      <a:lumMod val="75000"/>
                    </a:schemeClr>
                  </a:gs>
                  <a:gs pos="100000">
                    <a:schemeClr val="accent5">
                      <a:lumMod val="75000"/>
                    </a:schemeClr>
                  </a:gs>
                </a:gsLst>
                <a:lin ang="5400000" scaled="1"/>
              </a:gradFill>
              <a:ln w="9525">
                <a:gradFill>
                  <a:gsLst>
                    <a:gs pos="0">
                      <a:schemeClr val="accent5">
                        <a:lumMod val="50000"/>
                      </a:schemeClr>
                    </a:gs>
                    <a:gs pos="50000">
                      <a:schemeClr val="accent5">
                        <a:lumMod val="50000"/>
                      </a:schemeClr>
                    </a:gs>
                    <a:gs pos="100000">
                      <a:schemeClr val="accent5">
                        <a:lumMod val="75000"/>
                      </a:schemeClr>
                    </a:gs>
                  </a:gsLst>
                  <a:lin ang="5400000" scaled="0"/>
                </a:gradFill>
                <a:round/>
                <a:headEnd/>
                <a:tailEnd/>
              </a:ln>
            </p:spPr>
            <p:txBody>
              <a:bodyPr wrap="none" anchor="ctr"/>
              <a:lstStyle/>
              <a:p>
                <a:endParaRPr lang="en-US" sz="1350" dirty="0"/>
              </a:p>
            </p:txBody>
          </p:sp>
          <p:sp>
            <p:nvSpPr>
              <p:cNvPr id="193" name="Arc 9"/>
              <p:cNvSpPr>
                <a:spLocks/>
              </p:cNvSpPr>
              <p:nvPr/>
            </p:nvSpPr>
            <p:spPr bwMode="auto">
              <a:xfrm flipH="1">
                <a:off x="1022350" y="1754980"/>
                <a:ext cx="101600" cy="437784"/>
              </a:xfrm>
              <a:custGeom>
                <a:avLst/>
                <a:gdLst>
                  <a:gd name="T0" fmla="*/ 5 w 21600"/>
                  <a:gd name="T1" fmla="*/ 0 h 21541"/>
                  <a:gd name="T2" fmla="*/ 64 w 21600"/>
                  <a:gd name="T3" fmla="*/ 239 h 21541"/>
                  <a:gd name="T4" fmla="*/ 0 w 21600"/>
                  <a:gd name="T5" fmla="*/ 239 h 21541"/>
                  <a:gd name="T6" fmla="*/ 0 60000 65536"/>
                  <a:gd name="T7" fmla="*/ 0 60000 65536"/>
                  <a:gd name="T8" fmla="*/ 0 60000 65536"/>
                  <a:gd name="T9" fmla="*/ 0 w 21600"/>
                  <a:gd name="T10" fmla="*/ 0 h 21541"/>
                  <a:gd name="T11" fmla="*/ 21600 w 21600"/>
                  <a:gd name="T12" fmla="*/ 21541 h 21541"/>
                </a:gdLst>
                <a:ahLst/>
                <a:cxnLst>
                  <a:cxn ang="T6">
                    <a:pos x="T0" y="T1"/>
                  </a:cxn>
                  <a:cxn ang="T7">
                    <a:pos x="T2" y="T3"/>
                  </a:cxn>
                  <a:cxn ang="T8">
                    <a:pos x="T4" y="T5"/>
                  </a:cxn>
                </a:cxnLst>
                <a:rect l="T9" t="T10" r="T11" b="T12"/>
                <a:pathLst>
                  <a:path w="21600" h="21541" fill="none" extrusionOk="0">
                    <a:moveTo>
                      <a:pt x="1589" y="-1"/>
                    </a:moveTo>
                    <a:cubicBezTo>
                      <a:pt x="12871" y="831"/>
                      <a:pt x="21600" y="10228"/>
                      <a:pt x="21600" y="21541"/>
                    </a:cubicBezTo>
                  </a:path>
                  <a:path w="21600" h="21541" stroke="0" extrusionOk="0">
                    <a:moveTo>
                      <a:pt x="1589" y="-1"/>
                    </a:moveTo>
                    <a:cubicBezTo>
                      <a:pt x="12871" y="831"/>
                      <a:pt x="21600" y="10228"/>
                      <a:pt x="21600" y="21541"/>
                    </a:cubicBezTo>
                    <a:lnTo>
                      <a:pt x="0" y="21541"/>
                    </a:lnTo>
                    <a:close/>
                  </a:path>
                </a:pathLst>
              </a:custGeom>
              <a:gradFill>
                <a:gsLst>
                  <a:gs pos="0">
                    <a:schemeClr val="accent5">
                      <a:lumMod val="50000"/>
                    </a:schemeClr>
                  </a:gs>
                  <a:gs pos="50000">
                    <a:schemeClr val="accent5">
                      <a:lumMod val="50000"/>
                    </a:schemeClr>
                  </a:gs>
                  <a:gs pos="100000">
                    <a:schemeClr val="accent5">
                      <a:lumMod val="75000"/>
                    </a:schemeClr>
                  </a:gs>
                </a:gsLst>
                <a:lin ang="5400000" scaled="1"/>
              </a:gradFill>
              <a:ln w="9525">
                <a:gradFill>
                  <a:gsLst>
                    <a:gs pos="0">
                      <a:schemeClr val="accent5">
                        <a:lumMod val="50000"/>
                      </a:schemeClr>
                    </a:gs>
                    <a:gs pos="50000">
                      <a:schemeClr val="accent5">
                        <a:lumMod val="50000"/>
                      </a:schemeClr>
                    </a:gs>
                    <a:gs pos="100000">
                      <a:schemeClr val="accent5">
                        <a:lumMod val="75000"/>
                      </a:schemeClr>
                    </a:gs>
                  </a:gsLst>
                  <a:lin ang="5400000" scaled="0"/>
                </a:gradFill>
                <a:round/>
                <a:headEnd/>
                <a:tailEnd/>
              </a:ln>
            </p:spPr>
            <p:txBody>
              <a:bodyPr wrap="none" anchor="ctr"/>
              <a:lstStyle/>
              <a:p>
                <a:endParaRPr lang="en-US" sz="1350" dirty="0"/>
              </a:p>
            </p:txBody>
          </p:sp>
          <p:sp>
            <p:nvSpPr>
              <p:cNvPr id="194" name="Arc 10"/>
              <p:cNvSpPr>
                <a:spLocks/>
              </p:cNvSpPr>
              <p:nvPr/>
            </p:nvSpPr>
            <p:spPr bwMode="auto">
              <a:xfrm>
                <a:off x="1154113" y="1752599"/>
                <a:ext cx="101600" cy="441326"/>
              </a:xfrm>
              <a:custGeom>
                <a:avLst/>
                <a:gdLst>
                  <a:gd name="T0" fmla="*/ 5 w 21600"/>
                  <a:gd name="T1" fmla="*/ 0 h 21541"/>
                  <a:gd name="T2" fmla="*/ 64 w 21600"/>
                  <a:gd name="T3" fmla="*/ 239 h 21541"/>
                  <a:gd name="T4" fmla="*/ 0 w 21600"/>
                  <a:gd name="T5" fmla="*/ 239 h 21541"/>
                  <a:gd name="T6" fmla="*/ 0 60000 65536"/>
                  <a:gd name="T7" fmla="*/ 0 60000 65536"/>
                  <a:gd name="T8" fmla="*/ 0 60000 65536"/>
                  <a:gd name="T9" fmla="*/ 0 w 21600"/>
                  <a:gd name="T10" fmla="*/ 0 h 21541"/>
                  <a:gd name="T11" fmla="*/ 21600 w 21600"/>
                  <a:gd name="T12" fmla="*/ 21541 h 21541"/>
                </a:gdLst>
                <a:ahLst/>
                <a:cxnLst>
                  <a:cxn ang="T6">
                    <a:pos x="T0" y="T1"/>
                  </a:cxn>
                  <a:cxn ang="T7">
                    <a:pos x="T2" y="T3"/>
                  </a:cxn>
                  <a:cxn ang="T8">
                    <a:pos x="T4" y="T5"/>
                  </a:cxn>
                </a:cxnLst>
                <a:rect l="T9" t="T10" r="T11" b="T12"/>
                <a:pathLst>
                  <a:path w="21600" h="21541" fill="none" extrusionOk="0">
                    <a:moveTo>
                      <a:pt x="1589" y="-1"/>
                    </a:moveTo>
                    <a:cubicBezTo>
                      <a:pt x="12871" y="831"/>
                      <a:pt x="21600" y="10228"/>
                      <a:pt x="21600" y="21541"/>
                    </a:cubicBezTo>
                  </a:path>
                  <a:path w="21600" h="21541" stroke="0" extrusionOk="0">
                    <a:moveTo>
                      <a:pt x="1589" y="-1"/>
                    </a:moveTo>
                    <a:cubicBezTo>
                      <a:pt x="12871" y="831"/>
                      <a:pt x="21600" y="10228"/>
                      <a:pt x="21600" y="21541"/>
                    </a:cubicBezTo>
                    <a:lnTo>
                      <a:pt x="0" y="21541"/>
                    </a:lnTo>
                    <a:close/>
                  </a:path>
                </a:pathLst>
              </a:custGeom>
              <a:gradFill>
                <a:gsLst>
                  <a:gs pos="0">
                    <a:schemeClr val="accent5">
                      <a:lumMod val="50000"/>
                    </a:schemeClr>
                  </a:gs>
                  <a:gs pos="50000">
                    <a:schemeClr val="accent5">
                      <a:lumMod val="75000"/>
                    </a:schemeClr>
                  </a:gs>
                  <a:gs pos="100000">
                    <a:schemeClr val="accent5">
                      <a:lumMod val="75000"/>
                    </a:schemeClr>
                  </a:gs>
                </a:gsLst>
                <a:lin ang="5400000" scaled="1"/>
              </a:gradFill>
              <a:ln w="9525">
                <a:noFill/>
                <a:round/>
                <a:headEnd/>
                <a:tailEnd/>
              </a:ln>
            </p:spPr>
            <p:txBody>
              <a:bodyPr wrap="none" anchor="ctr"/>
              <a:lstStyle/>
              <a:p>
                <a:endParaRPr lang="en-US" sz="1350" dirty="0"/>
              </a:p>
            </p:txBody>
          </p:sp>
          <p:sp>
            <p:nvSpPr>
              <p:cNvPr id="195" name="Line 11"/>
              <p:cNvSpPr>
                <a:spLocks noChangeShapeType="1"/>
              </p:cNvSpPr>
              <p:nvPr/>
            </p:nvSpPr>
            <p:spPr bwMode="auto">
              <a:xfrm>
                <a:off x="1157285" y="1749424"/>
                <a:ext cx="0" cy="450851"/>
              </a:xfrm>
              <a:prstGeom prst="line">
                <a:avLst/>
              </a:prstGeom>
              <a:noFill/>
              <a:ln w="9525">
                <a:gradFill>
                  <a:gsLst>
                    <a:gs pos="0">
                      <a:schemeClr val="accent5">
                        <a:lumMod val="50000"/>
                      </a:schemeClr>
                    </a:gs>
                    <a:gs pos="50000">
                      <a:schemeClr val="accent5">
                        <a:lumMod val="50000"/>
                      </a:schemeClr>
                    </a:gs>
                    <a:gs pos="100000">
                      <a:schemeClr val="accent5">
                        <a:lumMod val="75000"/>
                      </a:schemeClr>
                    </a:gs>
                  </a:gsLst>
                  <a:lin ang="5400000" scaled="0"/>
                </a:gradFill>
                <a:round/>
                <a:headEnd/>
                <a:tailEnd/>
              </a:ln>
            </p:spPr>
            <p:txBody>
              <a:bodyPr wrap="none" anchor="ctr"/>
              <a:lstStyle/>
              <a:p>
                <a:endParaRPr lang="en-US" sz="1350" dirty="0"/>
              </a:p>
            </p:txBody>
          </p:sp>
        </p:grpSp>
      </p:grpSp>
      <p:grpSp>
        <p:nvGrpSpPr>
          <p:cNvPr id="124" name="Group 8"/>
          <p:cNvGrpSpPr>
            <a:grpSpLocks noChangeAspect="1"/>
          </p:cNvGrpSpPr>
          <p:nvPr/>
        </p:nvGrpSpPr>
        <p:grpSpPr>
          <a:xfrm>
            <a:off x="6414620" y="876410"/>
            <a:ext cx="411234" cy="981936"/>
            <a:chOff x="4288536" y="1755648"/>
            <a:chExt cx="838201" cy="2001438"/>
          </a:xfrm>
          <a:effectLst>
            <a:outerShdw blurRad="50800" dist="38100" algn="l" rotWithShape="0">
              <a:prstClr val="black">
                <a:alpha val="40000"/>
              </a:prstClr>
            </a:outerShdw>
          </a:effectLst>
        </p:grpSpPr>
        <p:sp>
          <p:nvSpPr>
            <p:cNvPr id="125" name="Rectangle 4"/>
            <p:cNvSpPr>
              <a:spLocks noChangeArrowheads="1"/>
            </p:cNvSpPr>
            <p:nvPr/>
          </p:nvSpPr>
          <p:spPr bwMode="auto">
            <a:xfrm>
              <a:off x="4288536" y="2213932"/>
              <a:ext cx="838200" cy="1543154"/>
            </a:xfrm>
            <a:prstGeom prst="rect">
              <a:avLst/>
            </a:prstGeom>
            <a:gradFill flip="none" rotWithShape="1">
              <a:gsLst>
                <a:gs pos="0">
                  <a:schemeClr val="accent2">
                    <a:lumMod val="50000"/>
                  </a:schemeClr>
                </a:gs>
                <a:gs pos="50000">
                  <a:schemeClr val="accent2">
                    <a:lumMod val="75000"/>
                  </a:schemeClr>
                </a:gs>
                <a:gs pos="100000">
                  <a:schemeClr val="accent2">
                    <a:lumMod val="50000"/>
                  </a:schemeClr>
                </a:gs>
              </a:gsLst>
              <a:lin ang="10800000" scaled="1"/>
              <a:tileRect/>
            </a:gradFill>
            <a:ln w="9525">
              <a:gradFill>
                <a:gsLst>
                  <a:gs pos="0">
                    <a:schemeClr val="accent2">
                      <a:lumMod val="50000"/>
                    </a:schemeClr>
                  </a:gs>
                  <a:gs pos="50000">
                    <a:schemeClr val="accent2">
                      <a:lumMod val="50000"/>
                    </a:schemeClr>
                  </a:gs>
                  <a:gs pos="100000">
                    <a:schemeClr val="accent2">
                      <a:lumMod val="75000"/>
                    </a:schemeClr>
                  </a:gs>
                </a:gsLst>
                <a:lin ang="5400000" scaled="0"/>
              </a:gradFill>
              <a:miter lim="800000"/>
              <a:headEnd/>
              <a:tailEnd/>
            </a:ln>
          </p:spPr>
          <p:txBody>
            <a:bodyPr vert="vert270" wrap="none" anchor="ctr"/>
            <a:lstStyle/>
            <a:p>
              <a:pPr algn="ctr"/>
              <a:endParaRPr lang="en-US" sz="1350" b="1" dirty="0">
                <a:ln>
                  <a:solidFill>
                    <a:schemeClr val="bg1">
                      <a:alpha val="0"/>
                    </a:schemeClr>
                  </a:solidFill>
                </a:ln>
                <a:solidFill>
                  <a:schemeClr val="bg1"/>
                </a:solidFill>
              </a:endParaRPr>
            </a:p>
          </p:txBody>
        </p:sp>
        <p:grpSp>
          <p:nvGrpSpPr>
            <p:cNvPr id="126" name="Group 10"/>
            <p:cNvGrpSpPr/>
            <p:nvPr/>
          </p:nvGrpSpPr>
          <p:grpSpPr>
            <a:xfrm>
              <a:off x="4288536" y="1755648"/>
              <a:ext cx="838201" cy="450851"/>
              <a:chOff x="738186" y="1749424"/>
              <a:chExt cx="838201" cy="450851"/>
            </a:xfrm>
          </p:grpSpPr>
          <p:sp>
            <p:nvSpPr>
              <p:cNvPr id="127" name="Oval 3"/>
              <p:cNvSpPr>
                <a:spLocks noChangeArrowheads="1"/>
              </p:cNvSpPr>
              <p:nvPr/>
            </p:nvSpPr>
            <p:spPr bwMode="auto">
              <a:xfrm>
                <a:off x="738186" y="1752597"/>
                <a:ext cx="838201" cy="447678"/>
              </a:xfrm>
              <a:custGeom>
                <a:avLst/>
                <a:gdLst>
                  <a:gd name="connsiteX0" fmla="*/ 0 w 838200"/>
                  <a:gd name="connsiteY0" fmla="*/ 439616 h 879231"/>
                  <a:gd name="connsiteX1" fmla="*/ 115758 w 838200"/>
                  <a:gd name="connsiteY1" fmla="*/ 136274 h 879231"/>
                  <a:gd name="connsiteX2" fmla="*/ 419100 w 838200"/>
                  <a:gd name="connsiteY2" fmla="*/ 1 h 879231"/>
                  <a:gd name="connsiteX3" fmla="*/ 722442 w 838200"/>
                  <a:gd name="connsiteY3" fmla="*/ 136275 h 879231"/>
                  <a:gd name="connsiteX4" fmla="*/ 838199 w 838200"/>
                  <a:gd name="connsiteY4" fmla="*/ 439617 h 879231"/>
                  <a:gd name="connsiteX5" fmla="*/ 722441 w 838200"/>
                  <a:gd name="connsiteY5" fmla="*/ 742959 h 879231"/>
                  <a:gd name="connsiteX6" fmla="*/ 419099 w 838200"/>
                  <a:gd name="connsiteY6" fmla="*/ 879233 h 879231"/>
                  <a:gd name="connsiteX7" fmla="*/ 115757 w 838200"/>
                  <a:gd name="connsiteY7" fmla="*/ 742959 h 879231"/>
                  <a:gd name="connsiteX8" fmla="*/ -1 w 838200"/>
                  <a:gd name="connsiteY8" fmla="*/ 439617 h 879231"/>
                  <a:gd name="connsiteX9" fmla="*/ 0 w 838200"/>
                  <a:gd name="connsiteY9" fmla="*/ 439616 h 879231"/>
                  <a:gd name="connsiteX0" fmla="*/ 1 w 838201"/>
                  <a:gd name="connsiteY0" fmla="*/ 439616 h 793516"/>
                  <a:gd name="connsiteX1" fmla="*/ 115759 w 838201"/>
                  <a:gd name="connsiteY1" fmla="*/ 136274 h 793516"/>
                  <a:gd name="connsiteX2" fmla="*/ 419101 w 838201"/>
                  <a:gd name="connsiteY2" fmla="*/ 1 h 793516"/>
                  <a:gd name="connsiteX3" fmla="*/ 722443 w 838201"/>
                  <a:gd name="connsiteY3" fmla="*/ 136275 h 793516"/>
                  <a:gd name="connsiteX4" fmla="*/ 838200 w 838201"/>
                  <a:gd name="connsiteY4" fmla="*/ 439617 h 793516"/>
                  <a:gd name="connsiteX5" fmla="*/ 722442 w 838201"/>
                  <a:gd name="connsiteY5" fmla="*/ 742959 h 793516"/>
                  <a:gd name="connsiteX6" fmla="*/ 115758 w 838201"/>
                  <a:gd name="connsiteY6" fmla="*/ 742959 h 793516"/>
                  <a:gd name="connsiteX7" fmla="*/ 0 w 838201"/>
                  <a:gd name="connsiteY7" fmla="*/ 439617 h 793516"/>
                  <a:gd name="connsiteX8" fmla="*/ 1 w 838201"/>
                  <a:gd name="connsiteY8" fmla="*/ 439616 h 793516"/>
                  <a:gd name="connsiteX0" fmla="*/ 1 w 838201"/>
                  <a:gd name="connsiteY0" fmla="*/ 439616 h 742959"/>
                  <a:gd name="connsiteX1" fmla="*/ 115759 w 838201"/>
                  <a:gd name="connsiteY1" fmla="*/ 136274 h 742959"/>
                  <a:gd name="connsiteX2" fmla="*/ 419101 w 838201"/>
                  <a:gd name="connsiteY2" fmla="*/ 1 h 742959"/>
                  <a:gd name="connsiteX3" fmla="*/ 722443 w 838201"/>
                  <a:gd name="connsiteY3" fmla="*/ 136275 h 742959"/>
                  <a:gd name="connsiteX4" fmla="*/ 838200 w 838201"/>
                  <a:gd name="connsiteY4" fmla="*/ 439617 h 742959"/>
                  <a:gd name="connsiteX5" fmla="*/ 722442 w 838201"/>
                  <a:gd name="connsiteY5" fmla="*/ 742959 h 742959"/>
                  <a:gd name="connsiteX6" fmla="*/ 0 w 838201"/>
                  <a:gd name="connsiteY6" fmla="*/ 439617 h 742959"/>
                  <a:gd name="connsiteX7" fmla="*/ 1 w 838201"/>
                  <a:gd name="connsiteY7" fmla="*/ 439616 h 742959"/>
                  <a:gd name="connsiteX0" fmla="*/ 1 w 838201"/>
                  <a:gd name="connsiteY0" fmla="*/ 439616 h 490174"/>
                  <a:gd name="connsiteX1" fmla="*/ 115759 w 838201"/>
                  <a:gd name="connsiteY1" fmla="*/ 136274 h 490174"/>
                  <a:gd name="connsiteX2" fmla="*/ 419101 w 838201"/>
                  <a:gd name="connsiteY2" fmla="*/ 1 h 490174"/>
                  <a:gd name="connsiteX3" fmla="*/ 722443 w 838201"/>
                  <a:gd name="connsiteY3" fmla="*/ 136275 h 490174"/>
                  <a:gd name="connsiteX4" fmla="*/ 838200 w 838201"/>
                  <a:gd name="connsiteY4" fmla="*/ 439617 h 490174"/>
                  <a:gd name="connsiteX5" fmla="*/ 0 w 838201"/>
                  <a:gd name="connsiteY5" fmla="*/ 439617 h 490174"/>
                  <a:gd name="connsiteX6" fmla="*/ 1 w 838201"/>
                  <a:gd name="connsiteY6" fmla="*/ 439616 h 490174"/>
                  <a:gd name="connsiteX0" fmla="*/ 1 w 838201"/>
                  <a:gd name="connsiteY0" fmla="*/ 439616 h 439617"/>
                  <a:gd name="connsiteX1" fmla="*/ 115759 w 838201"/>
                  <a:gd name="connsiteY1" fmla="*/ 136274 h 439617"/>
                  <a:gd name="connsiteX2" fmla="*/ 419101 w 838201"/>
                  <a:gd name="connsiteY2" fmla="*/ 1 h 439617"/>
                  <a:gd name="connsiteX3" fmla="*/ 722443 w 838201"/>
                  <a:gd name="connsiteY3" fmla="*/ 136275 h 439617"/>
                  <a:gd name="connsiteX4" fmla="*/ 838200 w 838201"/>
                  <a:gd name="connsiteY4" fmla="*/ 439617 h 439617"/>
                  <a:gd name="connsiteX5" fmla="*/ 0 w 838201"/>
                  <a:gd name="connsiteY5" fmla="*/ 439617 h 439617"/>
                  <a:gd name="connsiteX6" fmla="*/ 1 w 838201"/>
                  <a:gd name="connsiteY6" fmla="*/ 439616 h 439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8201" h="439617">
                    <a:moveTo>
                      <a:pt x="1" y="439616"/>
                    </a:moveTo>
                    <a:cubicBezTo>
                      <a:pt x="1" y="326657"/>
                      <a:pt x="41453" y="218033"/>
                      <a:pt x="115759" y="136274"/>
                    </a:cubicBezTo>
                    <a:cubicBezTo>
                      <a:pt x="194853" y="49248"/>
                      <a:pt x="304476" y="0"/>
                      <a:pt x="419101" y="1"/>
                    </a:cubicBezTo>
                    <a:cubicBezTo>
                      <a:pt x="533726" y="1"/>
                      <a:pt x="643350" y="49249"/>
                      <a:pt x="722443" y="136275"/>
                    </a:cubicBezTo>
                    <a:cubicBezTo>
                      <a:pt x="796749" y="218034"/>
                      <a:pt x="838201" y="326659"/>
                      <a:pt x="838200" y="439617"/>
                    </a:cubicBezTo>
                    <a:lnTo>
                      <a:pt x="0" y="439617"/>
                    </a:lnTo>
                    <a:lnTo>
                      <a:pt x="1" y="439616"/>
                    </a:lnTo>
                    <a:close/>
                  </a:path>
                </a:pathLst>
              </a:custGeom>
              <a:gradFill flip="none" rotWithShape="1">
                <a:gsLst>
                  <a:gs pos="0">
                    <a:schemeClr val="accent2">
                      <a:lumMod val="50000"/>
                    </a:schemeClr>
                  </a:gs>
                  <a:gs pos="50000">
                    <a:schemeClr val="accent2">
                      <a:lumMod val="50000"/>
                    </a:schemeClr>
                  </a:gs>
                  <a:gs pos="100000">
                    <a:schemeClr val="accent2">
                      <a:lumMod val="75000"/>
                    </a:schemeClr>
                  </a:gs>
                </a:gsLst>
                <a:lin ang="5400000" scaled="1"/>
                <a:tileRect/>
              </a:gradFill>
              <a:ln w="9525">
                <a:gradFill>
                  <a:gsLst>
                    <a:gs pos="0">
                      <a:schemeClr val="accent2">
                        <a:lumMod val="50000"/>
                      </a:schemeClr>
                    </a:gs>
                    <a:gs pos="50000">
                      <a:schemeClr val="accent2">
                        <a:lumMod val="50000"/>
                      </a:schemeClr>
                    </a:gs>
                    <a:gs pos="100000">
                      <a:schemeClr val="accent2">
                        <a:lumMod val="75000"/>
                      </a:schemeClr>
                    </a:gs>
                  </a:gsLst>
                  <a:lin ang="5400000" scaled="0"/>
                </a:gradFill>
                <a:round/>
                <a:headEnd/>
                <a:tailEnd/>
              </a:ln>
            </p:spPr>
            <p:txBody>
              <a:bodyPr wrap="none" anchor="ctr"/>
              <a:lstStyle/>
              <a:p>
                <a:endParaRPr lang="en-US" sz="1350" dirty="0"/>
              </a:p>
            </p:txBody>
          </p:sp>
          <p:sp>
            <p:nvSpPr>
              <p:cNvPr id="128" name="Arc 5"/>
              <p:cNvSpPr>
                <a:spLocks/>
              </p:cNvSpPr>
              <p:nvPr/>
            </p:nvSpPr>
            <p:spPr bwMode="auto">
              <a:xfrm>
                <a:off x="1176338" y="1752599"/>
                <a:ext cx="304800" cy="441326"/>
              </a:xfrm>
              <a:custGeom>
                <a:avLst/>
                <a:gdLst>
                  <a:gd name="T0" fmla="*/ 0 w 21600"/>
                  <a:gd name="T1" fmla="*/ 0 h 21600"/>
                  <a:gd name="T2" fmla="*/ 192 w 21600"/>
                  <a:gd name="T3" fmla="*/ 240 h 21600"/>
                  <a:gd name="T4" fmla="*/ 0 w 21600"/>
                  <a:gd name="T5" fmla="*/ 24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gradFill>
                <a:gsLst>
                  <a:gs pos="0">
                    <a:schemeClr val="accent2">
                      <a:lumMod val="50000"/>
                    </a:schemeClr>
                  </a:gs>
                  <a:gs pos="50000">
                    <a:schemeClr val="accent2">
                      <a:lumMod val="75000"/>
                    </a:schemeClr>
                  </a:gs>
                  <a:gs pos="78000">
                    <a:schemeClr val="accent2">
                      <a:lumMod val="75000"/>
                    </a:schemeClr>
                  </a:gs>
                </a:gsLst>
                <a:lin ang="5400000" scaled="1"/>
              </a:gradFill>
              <a:ln w="9525">
                <a:noFill/>
                <a:round/>
                <a:headEnd/>
                <a:tailEnd/>
              </a:ln>
            </p:spPr>
            <p:txBody>
              <a:bodyPr wrap="none" anchor="ctr"/>
              <a:lstStyle/>
              <a:p>
                <a:endParaRPr lang="en-US" sz="1350" dirty="0"/>
              </a:p>
            </p:txBody>
          </p:sp>
          <p:sp>
            <p:nvSpPr>
              <p:cNvPr id="129" name="Arc 6"/>
              <p:cNvSpPr>
                <a:spLocks/>
              </p:cNvSpPr>
              <p:nvPr/>
            </p:nvSpPr>
            <p:spPr bwMode="auto">
              <a:xfrm flipH="1">
                <a:off x="822005" y="1755775"/>
                <a:ext cx="292417" cy="441325"/>
              </a:xfrm>
              <a:custGeom>
                <a:avLst/>
                <a:gdLst>
                  <a:gd name="T0" fmla="*/ 0 w 21600"/>
                  <a:gd name="T1" fmla="*/ 0 h 21600"/>
                  <a:gd name="T2" fmla="*/ 192 w 21600"/>
                  <a:gd name="T3" fmla="*/ 240 h 21600"/>
                  <a:gd name="T4" fmla="*/ 0 w 21600"/>
                  <a:gd name="T5" fmla="*/ 24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gradFill>
                <a:gsLst>
                  <a:gs pos="0">
                    <a:schemeClr val="accent2">
                      <a:lumMod val="50000"/>
                    </a:schemeClr>
                  </a:gs>
                  <a:gs pos="50000">
                    <a:schemeClr val="accent2">
                      <a:lumMod val="75000"/>
                    </a:schemeClr>
                  </a:gs>
                  <a:gs pos="78000">
                    <a:schemeClr val="accent2">
                      <a:lumMod val="75000"/>
                    </a:schemeClr>
                  </a:gs>
                </a:gsLst>
                <a:lin ang="5400000" scaled="1"/>
              </a:gradFill>
              <a:ln w="9525">
                <a:noFill/>
                <a:round/>
                <a:headEnd/>
                <a:tailEnd/>
              </a:ln>
            </p:spPr>
            <p:txBody>
              <a:bodyPr wrap="none" anchor="ctr"/>
              <a:lstStyle/>
              <a:p>
                <a:endParaRPr lang="en-US" sz="1350" dirty="0"/>
              </a:p>
            </p:txBody>
          </p:sp>
          <p:sp>
            <p:nvSpPr>
              <p:cNvPr id="130" name="Arc 7"/>
              <p:cNvSpPr>
                <a:spLocks/>
              </p:cNvSpPr>
              <p:nvPr/>
            </p:nvSpPr>
            <p:spPr bwMode="auto">
              <a:xfrm>
                <a:off x="1148557" y="1751499"/>
                <a:ext cx="254000" cy="445601"/>
              </a:xfrm>
              <a:custGeom>
                <a:avLst/>
                <a:gdLst>
                  <a:gd name="T0" fmla="*/ 12 w 21600"/>
                  <a:gd name="T1" fmla="*/ 0 h 21541"/>
                  <a:gd name="T2" fmla="*/ 160 w 21600"/>
                  <a:gd name="T3" fmla="*/ 239 h 21541"/>
                  <a:gd name="T4" fmla="*/ 0 w 21600"/>
                  <a:gd name="T5" fmla="*/ 239 h 21541"/>
                  <a:gd name="T6" fmla="*/ 0 60000 65536"/>
                  <a:gd name="T7" fmla="*/ 0 60000 65536"/>
                  <a:gd name="T8" fmla="*/ 0 60000 65536"/>
                  <a:gd name="T9" fmla="*/ 0 w 21600"/>
                  <a:gd name="T10" fmla="*/ 0 h 21541"/>
                  <a:gd name="T11" fmla="*/ 21600 w 21600"/>
                  <a:gd name="T12" fmla="*/ 21541 h 21541"/>
                </a:gdLst>
                <a:ahLst/>
                <a:cxnLst>
                  <a:cxn ang="T6">
                    <a:pos x="T0" y="T1"/>
                  </a:cxn>
                  <a:cxn ang="T7">
                    <a:pos x="T2" y="T3"/>
                  </a:cxn>
                  <a:cxn ang="T8">
                    <a:pos x="T4" y="T5"/>
                  </a:cxn>
                </a:cxnLst>
                <a:rect l="T9" t="T10" r="T11" b="T12"/>
                <a:pathLst>
                  <a:path w="21600" h="21541" fill="none" extrusionOk="0">
                    <a:moveTo>
                      <a:pt x="1589" y="-1"/>
                    </a:moveTo>
                    <a:cubicBezTo>
                      <a:pt x="12871" y="831"/>
                      <a:pt x="21600" y="10228"/>
                      <a:pt x="21600" y="21541"/>
                    </a:cubicBezTo>
                  </a:path>
                  <a:path w="21600" h="21541" stroke="0" extrusionOk="0">
                    <a:moveTo>
                      <a:pt x="1589" y="-1"/>
                    </a:moveTo>
                    <a:cubicBezTo>
                      <a:pt x="12871" y="831"/>
                      <a:pt x="21600" y="10228"/>
                      <a:pt x="21600" y="21541"/>
                    </a:cubicBezTo>
                    <a:lnTo>
                      <a:pt x="0" y="21541"/>
                    </a:lnTo>
                    <a:close/>
                  </a:path>
                </a:pathLst>
              </a:custGeom>
              <a:gradFill>
                <a:gsLst>
                  <a:gs pos="0">
                    <a:schemeClr val="accent2">
                      <a:lumMod val="50000"/>
                    </a:schemeClr>
                  </a:gs>
                  <a:gs pos="50000">
                    <a:schemeClr val="accent2">
                      <a:lumMod val="75000"/>
                    </a:schemeClr>
                  </a:gs>
                  <a:gs pos="78000">
                    <a:schemeClr val="accent2">
                      <a:lumMod val="75000"/>
                    </a:schemeClr>
                  </a:gs>
                </a:gsLst>
                <a:lin ang="5400000" scaled="1"/>
              </a:gradFill>
              <a:ln w="9525">
                <a:noFill/>
                <a:round/>
                <a:headEnd/>
                <a:tailEnd/>
              </a:ln>
            </p:spPr>
            <p:txBody>
              <a:bodyPr wrap="none" anchor="ctr"/>
              <a:lstStyle/>
              <a:p>
                <a:endParaRPr lang="en-US" sz="1350" dirty="0"/>
              </a:p>
            </p:txBody>
          </p:sp>
          <p:sp>
            <p:nvSpPr>
              <p:cNvPr id="131" name="Arc 9"/>
              <p:cNvSpPr>
                <a:spLocks/>
              </p:cNvSpPr>
              <p:nvPr/>
            </p:nvSpPr>
            <p:spPr bwMode="auto">
              <a:xfrm flipH="1">
                <a:off x="1022350" y="1754980"/>
                <a:ext cx="101600" cy="437784"/>
              </a:xfrm>
              <a:custGeom>
                <a:avLst/>
                <a:gdLst>
                  <a:gd name="T0" fmla="*/ 5 w 21600"/>
                  <a:gd name="T1" fmla="*/ 0 h 21541"/>
                  <a:gd name="T2" fmla="*/ 64 w 21600"/>
                  <a:gd name="T3" fmla="*/ 239 h 21541"/>
                  <a:gd name="T4" fmla="*/ 0 w 21600"/>
                  <a:gd name="T5" fmla="*/ 239 h 21541"/>
                  <a:gd name="T6" fmla="*/ 0 60000 65536"/>
                  <a:gd name="T7" fmla="*/ 0 60000 65536"/>
                  <a:gd name="T8" fmla="*/ 0 60000 65536"/>
                  <a:gd name="T9" fmla="*/ 0 w 21600"/>
                  <a:gd name="T10" fmla="*/ 0 h 21541"/>
                  <a:gd name="T11" fmla="*/ 21600 w 21600"/>
                  <a:gd name="T12" fmla="*/ 21541 h 21541"/>
                </a:gdLst>
                <a:ahLst/>
                <a:cxnLst>
                  <a:cxn ang="T6">
                    <a:pos x="T0" y="T1"/>
                  </a:cxn>
                  <a:cxn ang="T7">
                    <a:pos x="T2" y="T3"/>
                  </a:cxn>
                  <a:cxn ang="T8">
                    <a:pos x="T4" y="T5"/>
                  </a:cxn>
                </a:cxnLst>
                <a:rect l="T9" t="T10" r="T11" b="T12"/>
                <a:pathLst>
                  <a:path w="21600" h="21541" fill="none" extrusionOk="0">
                    <a:moveTo>
                      <a:pt x="1589" y="-1"/>
                    </a:moveTo>
                    <a:cubicBezTo>
                      <a:pt x="12871" y="831"/>
                      <a:pt x="21600" y="10228"/>
                      <a:pt x="21600" y="21541"/>
                    </a:cubicBezTo>
                  </a:path>
                  <a:path w="21600" h="21541" stroke="0" extrusionOk="0">
                    <a:moveTo>
                      <a:pt x="1589" y="-1"/>
                    </a:moveTo>
                    <a:cubicBezTo>
                      <a:pt x="12871" y="831"/>
                      <a:pt x="21600" y="10228"/>
                      <a:pt x="21600" y="21541"/>
                    </a:cubicBezTo>
                    <a:lnTo>
                      <a:pt x="0" y="21541"/>
                    </a:lnTo>
                    <a:close/>
                  </a:path>
                </a:pathLst>
              </a:custGeom>
              <a:gradFill>
                <a:gsLst>
                  <a:gs pos="0">
                    <a:schemeClr val="accent2">
                      <a:lumMod val="50000"/>
                    </a:schemeClr>
                  </a:gs>
                  <a:gs pos="50000">
                    <a:schemeClr val="accent2">
                      <a:lumMod val="50000"/>
                    </a:schemeClr>
                  </a:gs>
                  <a:gs pos="78000">
                    <a:schemeClr val="accent2">
                      <a:lumMod val="75000"/>
                    </a:schemeClr>
                  </a:gs>
                </a:gsLst>
                <a:lin ang="5400000" scaled="1"/>
              </a:gradFill>
              <a:ln w="9525">
                <a:noFill/>
                <a:round/>
                <a:headEnd/>
                <a:tailEnd/>
              </a:ln>
            </p:spPr>
            <p:txBody>
              <a:bodyPr wrap="none" anchor="ctr"/>
              <a:lstStyle/>
              <a:p>
                <a:endParaRPr lang="en-US" sz="1350" dirty="0"/>
              </a:p>
            </p:txBody>
          </p:sp>
          <p:sp>
            <p:nvSpPr>
              <p:cNvPr id="132" name="Arc 10"/>
              <p:cNvSpPr>
                <a:spLocks/>
              </p:cNvSpPr>
              <p:nvPr/>
            </p:nvSpPr>
            <p:spPr bwMode="auto">
              <a:xfrm>
                <a:off x="1154113" y="1752599"/>
                <a:ext cx="101600" cy="441326"/>
              </a:xfrm>
              <a:custGeom>
                <a:avLst/>
                <a:gdLst>
                  <a:gd name="T0" fmla="*/ 5 w 21600"/>
                  <a:gd name="T1" fmla="*/ 0 h 21541"/>
                  <a:gd name="T2" fmla="*/ 64 w 21600"/>
                  <a:gd name="T3" fmla="*/ 239 h 21541"/>
                  <a:gd name="T4" fmla="*/ 0 w 21600"/>
                  <a:gd name="T5" fmla="*/ 239 h 21541"/>
                  <a:gd name="T6" fmla="*/ 0 60000 65536"/>
                  <a:gd name="T7" fmla="*/ 0 60000 65536"/>
                  <a:gd name="T8" fmla="*/ 0 60000 65536"/>
                  <a:gd name="T9" fmla="*/ 0 w 21600"/>
                  <a:gd name="T10" fmla="*/ 0 h 21541"/>
                  <a:gd name="T11" fmla="*/ 21600 w 21600"/>
                  <a:gd name="T12" fmla="*/ 21541 h 21541"/>
                </a:gdLst>
                <a:ahLst/>
                <a:cxnLst>
                  <a:cxn ang="T6">
                    <a:pos x="T0" y="T1"/>
                  </a:cxn>
                  <a:cxn ang="T7">
                    <a:pos x="T2" y="T3"/>
                  </a:cxn>
                  <a:cxn ang="T8">
                    <a:pos x="T4" y="T5"/>
                  </a:cxn>
                </a:cxnLst>
                <a:rect l="T9" t="T10" r="T11" b="T12"/>
                <a:pathLst>
                  <a:path w="21600" h="21541" fill="none" extrusionOk="0">
                    <a:moveTo>
                      <a:pt x="1589" y="-1"/>
                    </a:moveTo>
                    <a:cubicBezTo>
                      <a:pt x="12871" y="831"/>
                      <a:pt x="21600" y="10228"/>
                      <a:pt x="21600" y="21541"/>
                    </a:cubicBezTo>
                  </a:path>
                  <a:path w="21600" h="21541" stroke="0" extrusionOk="0">
                    <a:moveTo>
                      <a:pt x="1589" y="-1"/>
                    </a:moveTo>
                    <a:cubicBezTo>
                      <a:pt x="12871" y="831"/>
                      <a:pt x="21600" y="10228"/>
                      <a:pt x="21600" y="21541"/>
                    </a:cubicBezTo>
                    <a:lnTo>
                      <a:pt x="0" y="21541"/>
                    </a:lnTo>
                    <a:close/>
                  </a:path>
                </a:pathLst>
              </a:custGeom>
              <a:gradFill>
                <a:gsLst>
                  <a:gs pos="0">
                    <a:schemeClr val="accent2">
                      <a:lumMod val="50000"/>
                    </a:schemeClr>
                  </a:gs>
                  <a:gs pos="50000">
                    <a:schemeClr val="accent2">
                      <a:lumMod val="50000"/>
                    </a:schemeClr>
                  </a:gs>
                  <a:gs pos="78000">
                    <a:schemeClr val="accent2">
                      <a:lumMod val="75000"/>
                    </a:schemeClr>
                  </a:gs>
                </a:gsLst>
                <a:lin ang="5400000" scaled="1"/>
              </a:gradFill>
              <a:ln w="9525">
                <a:noFill/>
                <a:round/>
                <a:headEnd/>
                <a:tailEnd/>
              </a:ln>
            </p:spPr>
            <p:txBody>
              <a:bodyPr wrap="none" anchor="ctr"/>
              <a:lstStyle/>
              <a:p>
                <a:endParaRPr lang="en-US" sz="1350" dirty="0"/>
              </a:p>
            </p:txBody>
          </p:sp>
          <p:sp>
            <p:nvSpPr>
              <p:cNvPr id="133" name="Line 11"/>
              <p:cNvSpPr>
                <a:spLocks noChangeShapeType="1"/>
              </p:cNvSpPr>
              <p:nvPr/>
            </p:nvSpPr>
            <p:spPr bwMode="auto">
              <a:xfrm>
                <a:off x="1157285" y="1749424"/>
                <a:ext cx="0" cy="450851"/>
              </a:xfrm>
              <a:prstGeom prst="line">
                <a:avLst/>
              </a:prstGeom>
              <a:noFill/>
              <a:ln w="9525">
                <a:gradFill>
                  <a:gsLst>
                    <a:gs pos="0">
                      <a:schemeClr val="accent2">
                        <a:lumMod val="50000"/>
                      </a:schemeClr>
                    </a:gs>
                    <a:gs pos="50000">
                      <a:schemeClr val="accent2">
                        <a:lumMod val="50000"/>
                      </a:schemeClr>
                    </a:gs>
                    <a:gs pos="100000">
                      <a:schemeClr val="accent2">
                        <a:lumMod val="75000"/>
                      </a:schemeClr>
                    </a:gs>
                  </a:gsLst>
                  <a:lin ang="5400000" scaled="0"/>
                </a:gradFill>
                <a:round/>
                <a:headEnd/>
                <a:tailEnd/>
              </a:ln>
            </p:spPr>
            <p:txBody>
              <a:bodyPr wrap="none" anchor="ctr"/>
              <a:lstStyle/>
              <a:p>
                <a:endParaRPr lang="en-US" sz="1350" dirty="0"/>
              </a:p>
            </p:txBody>
          </p:sp>
        </p:grpSp>
      </p:grpSp>
      <p:sp>
        <p:nvSpPr>
          <p:cNvPr id="93" name="Rounded Rectangle 92"/>
          <p:cNvSpPr/>
          <p:nvPr/>
        </p:nvSpPr>
        <p:spPr bwMode="auto">
          <a:xfrm>
            <a:off x="1446065" y="2584253"/>
            <a:ext cx="6317877" cy="2136467"/>
          </a:xfrm>
          <a:prstGeom prst="roundRect">
            <a:avLst>
              <a:gd name="adj" fmla="val 5384"/>
            </a:avLst>
          </a:prstGeom>
          <a:solidFill>
            <a:srgbClr val="B6DDF6">
              <a:alpha val="32000"/>
            </a:srgbClr>
          </a:solidFill>
          <a:ln w="12700" cap="flat" cmpd="sng" algn="ctr">
            <a:noFill/>
            <a:prstDash val="dash"/>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lvl="1" algn="l" eaLnBrk="0" hangingPunct="0">
              <a:spcBef>
                <a:spcPct val="20000"/>
              </a:spcBef>
            </a:pPr>
            <a:endParaRPr lang="en-US" sz="1650" i="1" dirty="0"/>
          </a:p>
        </p:txBody>
      </p:sp>
      <p:sp>
        <p:nvSpPr>
          <p:cNvPr id="184" name="Rectangle 2"/>
          <p:cNvSpPr/>
          <p:nvPr/>
        </p:nvSpPr>
        <p:spPr bwMode="auto">
          <a:xfrm>
            <a:off x="1525879" y="2802721"/>
            <a:ext cx="6112643" cy="1796243"/>
          </a:xfrm>
          <a:custGeom>
            <a:avLst/>
            <a:gdLst>
              <a:gd name="connsiteX0" fmla="*/ 0 w 8143047"/>
              <a:gd name="connsiteY0" fmla="*/ 0 h 843587"/>
              <a:gd name="connsiteX1" fmla="*/ 8143047 w 8143047"/>
              <a:gd name="connsiteY1" fmla="*/ 0 h 843587"/>
              <a:gd name="connsiteX2" fmla="*/ 8143047 w 8143047"/>
              <a:gd name="connsiteY2" fmla="*/ 843587 h 843587"/>
              <a:gd name="connsiteX3" fmla="*/ 0 w 8143047"/>
              <a:gd name="connsiteY3" fmla="*/ 843587 h 843587"/>
              <a:gd name="connsiteX4" fmla="*/ 0 w 8143047"/>
              <a:gd name="connsiteY4" fmla="*/ 0 h 843587"/>
              <a:gd name="connsiteX0" fmla="*/ 0 w 8143047"/>
              <a:gd name="connsiteY0" fmla="*/ 0 h 843589"/>
              <a:gd name="connsiteX1" fmla="*/ 8143047 w 8143047"/>
              <a:gd name="connsiteY1" fmla="*/ 0 h 843589"/>
              <a:gd name="connsiteX2" fmla="*/ 8143047 w 8143047"/>
              <a:gd name="connsiteY2" fmla="*/ 843587 h 843589"/>
              <a:gd name="connsiteX3" fmla="*/ 927860 w 8143047"/>
              <a:gd name="connsiteY3" fmla="*/ 843589 h 843589"/>
              <a:gd name="connsiteX4" fmla="*/ 0 w 8143047"/>
              <a:gd name="connsiteY4" fmla="*/ 843587 h 843589"/>
              <a:gd name="connsiteX5" fmla="*/ 0 w 8143047"/>
              <a:gd name="connsiteY5" fmla="*/ 0 h 843589"/>
              <a:gd name="connsiteX0" fmla="*/ 0 w 8143047"/>
              <a:gd name="connsiteY0" fmla="*/ 0 h 1236219"/>
              <a:gd name="connsiteX1" fmla="*/ 8143047 w 8143047"/>
              <a:gd name="connsiteY1" fmla="*/ 0 h 1236219"/>
              <a:gd name="connsiteX2" fmla="*/ 8143047 w 8143047"/>
              <a:gd name="connsiteY2" fmla="*/ 843587 h 1236219"/>
              <a:gd name="connsiteX3" fmla="*/ 1563830 w 8143047"/>
              <a:gd name="connsiteY3" fmla="*/ 1236219 h 1236219"/>
              <a:gd name="connsiteX4" fmla="*/ 927860 w 8143047"/>
              <a:gd name="connsiteY4" fmla="*/ 843589 h 1236219"/>
              <a:gd name="connsiteX5" fmla="*/ 0 w 8143047"/>
              <a:gd name="connsiteY5" fmla="*/ 843587 h 1236219"/>
              <a:gd name="connsiteX6" fmla="*/ 0 w 8143047"/>
              <a:gd name="connsiteY6" fmla="*/ 0 h 1236219"/>
              <a:gd name="connsiteX0" fmla="*/ 0 w 8143047"/>
              <a:gd name="connsiteY0" fmla="*/ 0 h 1264765"/>
              <a:gd name="connsiteX1" fmla="*/ 8143047 w 8143047"/>
              <a:gd name="connsiteY1" fmla="*/ 0 h 1264765"/>
              <a:gd name="connsiteX2" fmla="*/ 8143047 w 8143047"/>
              <a:gd name="connsiteY2" fmla="*/ 843587 h 1264765"/>
              <a:gd name="connsiteX3" fmla="*/ 3306905 w 8143047"/>
              <a:gd name="connsiteY3" fmla="*/ 1186213 h 1264765"/>
              <a:gd name="connsiteX4" fmla="*/ 1563830 w 8143047"/>
              <a:gd name="connsiteY4" fmla="*/ 1236219 h 1264765"/>
              <a:gd name="connsiteX5" fmla="*/ 927860 w 8143047"/>
              <a:gd name="connsiteY5" fmla="*/ 843589 h 1264765"/>
              <a:gd name="connsiteX6" fmla="*/ 0 w 8143047"/>
              <a:gd name="connsiteY6" fmla="*/ 843587 h 1264765"/>
              <a:gd name="connsiteX7" fmla="*/ 0 w 8143047"/>
              <a:gd name="connsiteY7" fmla="*/ 0 h 1264765"/>
              <a:gd name="connsiteX0" fmla="*/ 0 w 8143047"/>
              <a:gd name="connsiteY0" fmla="*/ 0 h 1271918"/>
              <a:gd name="connsiteX1" fmla="*/ 8143047 w 8143047"/>
              <a:gd name="connsiteY1" fmla="*/ 0 h 1271918"/>
              <a:gd name="connsiteX2" fmla="*/ 8143047 w 8143047"/>
              <a:gd name="connsiteY2" fmla="*/ 843587 h 1271918"/>
              <a:gd name="connsiteX3" fmla="*/ 3306905 w 8143047"/>
              <a:gd name="connsiteY3" fmla="*/ 1186213 h 1271918"/>
              <a:gd name="connsiteX4" fmla="*/ 1563830 w 8143047"/>
              <a:gd name="connsiteY4" fmla="*/ 1236219 h 1271918"/>
              <a:gd name="connsiteX5" fmla="*/ 927860 w 8143047"/>
              <a:gd name="connsiteY5" fmla="*/ 843589 h 1271918"/>
              <a:gd name="connsiteX6" fmla="*/ 0 w 8143047"/>
              <a:gd name="connsiteY6" fmla="*/ 843587 h 1271918"/>
              <a:gd name="connsiteX7" fmla="*/ 0 w 8143047"/>
              <a:gd name="connsiteY7" fmla="*/ 0 h 1271918"/>
              <a:gd name="connsiteX0" fmla="*/ 0 w 8143047"/>
              <a:gd name="connsiteY0" fmla="*/ 0 h 1279982"/>
              <a:gd name="connsiteX1" fmla="*/ 8143047 w 8143047"/>
              <a:gd name="connsiteY1" fmla="*/ 0 h 1279982"/>
              <a:gd name="connsiteX2" fmla="*/ 8143047 w 8143047"/>
              <a:gd name="connsiteY2" fmla="*/ 843587 h 1279982"/>
              <a:gd name="connsiteX3" fmla="*/ 3306905 w 8143047"/>
              <a:gd name="connsiteY3" fmla="*/ 1186213 h 1279982"/>
              <a:gd name="connsiteX4" fmla="*/ 2256774 w 8143047"/>
              <a:gd name="connsiteY4" fmla="*/ 1264793 h 1279982"/>
              <a:gd name="connsiteX5" fmla="*/ 1563830 w 8143047"/>
              <a:gd name="connsiteY5" fmla="*/ 1236219 h 1279982"/>
              <a:gd name="connsiteX6" fmla="*/ 927860 w 8143047"/>
              <a:gd name="connsiteY6" fmla="*/ 843589 h 1279982"/>
              <a:gd name="connsiteX7" fmla="*/ 0 w 8143047"/>
              <a:gd name="connsiteY7" fmla="*/ 843587 h 1279982"/>
              <a:gd name="connsiteX8" fmla="*/ 0 w 8143047"/>
              <a:gd name="connsiteY8" fmla="*/ 0 h 1279982"/>
              <a:gd name="connsiteX0" fmla="*/ 0 w 8143047"/>
              <a:gd name="connsiteY0" fmla="*/ 0 h 2382200"/>
              <a:gd name="connsiteX1" fmla="*/ 8143047 w 8143047"/>
              <a:gd name="connsiteY1" fmla="*/ 0 h 2382200"/>
              <a:gd name="connsiteX2" fmla="*/ 8143047 w 8143047"/>
              <a:gd name="connsiteY2" fmla="*/ 843587 h 2382200"/>
              <a:gd name="connsiteX3" fmla="*/ 3035442 w 8143047"/>
              <a:gd name="connsiteY3" fmla="*/ 2379219 h 2382200"/>
              <a:gd name="connsiteX4" fmla="*/ 2256774 w 8143047"/>
              <a:gd name="connsiteY4" fmla="*/ 1264793 h 2382200"/>
              <a:gd name="connsiteX5" fmla="*/ 1563830 w 8143047"/>
              <a:gd name="connsiteY5" fmla="*/ 1236219 h 2382200"/>
              <a:gd name="connsiteX6" fmla="*/ 927860 w 8143047"/>
              <a:gd name="connsiteY6" fmla="*/ 843589 h 2382200"/>
              <a:gd name="connsiteX7" fmla="*/ 0 w 8143047"/>
              <a:gd name="connsiteY7" fmla="*/ 843587 h 2382200"/>
              <a:gd name="connsiteX8" fmla="*/ 0 w 8143047"/>
              <a:gd name="connsiteY8" fmla="*/ 0 h 2382200"/>
              <a:gd name="connsiteX0" fmla="*/ 0 w 8143047"/>
              <a:gd name="connsiteY0" fmla="*/ 0 h 2379219"/>
              <a:gd name="connsiteX1" fmla="*/ 8143047 w 8143047"/>
              <a:gd name="connsiteY1" fmla="*/ 0 h 2379219"/>
              <a:gd name="connsiteX2" fmla="*/ 8143047 w 8143047"/>
              <a:gd name="connsiteY2" fmla="*/ 843587 h 2379219"/>
              <a:gd name="connsiteX3" fmla="*/ 3035442 w 8143047"/>
              <a:gd name="connsiteY3" fmla="*/ 2379219 h 2379219"/>
              <a:gd name="connsiteX4" fmla="*/ 2256774 w 8143047"/>
              <a:gd name="connsiteY4" fmla="*/ 1264793 h 2379219"/>
              <a:gd name="connsiteX5" fmla="*/ 1563830 w 8143047"/>
              <a:gd name="connsiteY5" fmla="*/ 1236219 h 2379219"/>
              <a:gd name="connsiteX6" fmla="*/ 927860 w 8143047"/>
              <a:gd name="connsiteY6" fmla="*/ 843589 h 2379219"/>
              <a:gd name="connsiteX7" fmla="*/ 0 w 8143047"/>
              <a:gd name="connsiteY7" fmla="*/ 843587 h 2379219"/>
              <a:gd name="connsiteX8" fmla="*/ 0 w 8143047"/>
              <a:gd name="connsiteY8" fmla="*/ 0 h 2379219"/>
              <a:gd name="connsiteX0" fmla="*/ 0 w 8143047"/>
              <a:gd name="connsiteY0" fmla="*/ 0 h 2379219"/>
              <a:gd name="connsiteX1" fmla="*/ 8143047 w 8143047"/>
              <a:gd name="connsiteY1" fmla="*/ 0 h 2379219"/>
              <a:gd name="connsiteX2" fmla="*/ 8143047 w 8143047"/>
              <a:gd name="connsiteY2" fmla="*/ 843587 h 2379219"/>
              <a:gd name="connsiteX3" fmla="*/ 3035442 w 8143047"/>
              <a:gd name="connsiteY3" fmla="*/ 2379219 h 2379219"/>
              <a:gd name="connsiteX4" fmla="*/ 2256774 w 8143047"/>
              <a:gd name="connsiteY4" fmla="*/ 1264793 h 2379219"/>
              <a:gd name="connsiteX5" fmla="*/ 1563830 w 8143047"/>
              <a:gd name="connsiteY5" fmla="*/ 1236219 h 2379219"/>
              <a:gd name="connsiteX6" fmla="*/ 927860 w 8143047"/>
              <a:gd name="connsiteY6" fmla="*/ 843589 h 2379219"/>
              <a:gd name="connsiteX7" fmla="*/ 0 w 8143047"/>
              <a:gd name="connsiteY7" fmla="*/ 843587 h 2379219"/>
              <a:gd name="connsiteX8" fmla="*/ 0 w 8143047"/>
              <a:gd name="connsiteY8" fmla="*/ 0 h 2379219"/>
              <a:gd name="connsiteX0" fmla="*/ 0 w 8143047"/>
              <a:gd name="connsiteY0" fmla="*/ 0 h 2549744"/>
              <a:gd name="connsiteX1" fmla="*/ 8143047 w 8143047"/>
              <a:gd name="connsiteY1" fmla="*/ 0 h 2549744"/>
              <a:gd name="connsiteX2" fmla="*/ 8143047 w 8143047"/>
              <a:gd name="connsiteY2" fmla="*/ 843587 h 2549744"/>
              <a:gd name="connsiteX3" fmla="*/ 3606943 w 8143047"/>
              <a:gd name="connsiteY3" fmla="*/ 2393506 h 2549744"/>
              <a:gd name="connsiteX4" fmla="*/ 3035442 w 8143047"/>
              <a:gd name="connsiteY4" fmla="*/ 2379219 h 2549744"/>
              <a:gd name="connsiteX5" fmla="*/ 2256774 w 8143047"/>
              <a:gd name="connsiteY5" fmla="*/ 1264793 h 2549744"/>
              <a:gd name="connsiteX6" fmla="*/ 1563830 w 8143047"/>
              <a:gd name="connsiteY6" fmla="*/ 1236219 h 2549744"/>
              <a:gd name="connsiteX7" fmla="*/ 927860 w 8143047"/>
              <a:gd name="connsiteY7" fmla="*/ 843589 h 2549744"/>
              <a:gd name="connsiteX8" fmla="*/ 0 w 8143047"/>
              <a:gd name="connsiteY8" fmla="*/ 843587 h 2549744"/>
              <a:gd name="connsiteX9" fmla="*/ 0 w 8143047"/>
              <a:gd name="connsiteY9" fmla="*/ 0 h 2549744"/>
              <a:gd name="connsiteX0" fmla="*/ 0 w 8143047"/>
              <a:gd name="connsiteY0" fmla="*/ 0 h 2505441"/>
              <a:gd name="connsiteX1" fmla="*/ 8143047 w 8143047"/>
              <a:gd name="connsiteY1" fmla="*/ 0 h 2505441"/>
              <a:gd name="connsiteX2" fmla="*/ 8143047 w 8143047"/>
              <a:gd name="connsiteY2" fmla="*/ 843587 h 2505441"/>
              <a:gd name="connsiteX3" fmla="*/ 3606943 w 8143047"/>
              <a:gd name="connsiteY3" fmla="*/ 2393506 h 2505441"/>
              <a:gd name="connsiteX4" fmla="*/ 3035442 w 8143047"/>
              <a:gd name="connsiteY4" fmla="*/ 2379219 h 2505441"/>
              <a:gd name="connsiteX5" fmla="*/ 2256774 w 8143047"/>
              <a:gd name="connsiteY5" fmla="*/ 1264793 h 2505441"/>
              <a:gd name="connsiteX6" fmla="*/ 1563830 w 8143047"/>
              <a:gd name="connsiteY6" fmla="*/ 1236219 h 2505441"/>
              <a:gd name="connsiteX7" fmla="*/ 927860 w 8143047"/>
              <a:gd name="connsiteY7" fmla="*/ 843589 h 2505441"/>
              <a:gd name="connsiteX8" fmla="*/ 0 w 8143047"/>
              <a:gd name="connsiteY8" fmla="*/ 843587 h 2505441"/>
              <a:gd name="connsiteX9" fmla="*/ 0 w 8143047"/>
              <a:gd name="connsiteY9" fmla="*/ 0 h 2505441"/>
              <a:gd name="connsiteX0" fmla="*/ 0 w 8143047"/>
              <a:gd name="connsiteY0" fmla="*/ 0 h 2393506"/>
              <a:gd name="connsiteX1" fmla="*/ 8143047 w 8143047"/>
              <a:gd name="connsiteY1" fmla="*/ 0 h 2393506"/>
              <a:gd name="connsiteX2" fmla="*/ 8143047 w 8143047"/>
              <a:gd name="connsiteY2" fmla="*/ 843587 h 2393506"/>
              <a:gd name="connsiteX3" fmla="*/ 3606943 w 8143047"/>
              <a:gd name="connsiteY3" fmla="*/ 2393506 h 2393506"/>
              <a:gd name="connsiteX4" fmla="*/ 3035442 w 8143047"/>
              <a:gd name="connsiteY4" fmla="*/ 2379219 h 2393506"/>
              <a:gd name="connsiteX5" fmla="*/ 2256774 w 8143047"/>
              <a:gd name="connsiteY5" fmla="*/ 1264793 h 2393506"/>
              <a:gd name="connsiteX6" fmla="*/ 1563830 w 8143047"/>
              <a:gd name="connsiteY6" fmla="*/ 1236219 h 2393506"/>
              <a:gd name="connsiteX7" fmla="*/ 927860 w 8143047"/>
              <a:gd name="connsiteY7" fmla="*/ 843589 h 2393506"/>
              <a:gd name="connsiteX8" fmla="*/ 0 w 8143047"/>
              <a:gd name="connsiteY8" fmla="*/ 843587 h 2393506"/>
              <a:gd name="connsiteX9" fmla="*/ 0 w 8143047"/>
              <a:gd name="connsiteY9" fmla="*/ 0 h 2393506"/>
              <a:gd name="connsiteX0" fmla="*/ 0 w 8143047"/>
              <a:gd name="connsiteY0" fmla="*/ 0 h 2393506"/>
              <a:gd name="connsiteX1" fmla="*/ 8143047 w 8143047"/>
              <a:gd name="connsiteY1" fmla="*/ 0 h 2393506"/>
              <a:gd name="connsiteX2" fmla="*/ 8143047 w 8143047"/>
              <a:gd name="connsiteY2" fmla="*/ 843587 h 2393506"/>
              <a:gd name="connsiteX3" fmla="*/ 3606943 w 8143047"/>
              <a:gd name="connsiteY3" fmla="*/ 2393506 h 2393506"/>
              <a:gd name="connsiteX4" fmla="*/ 3035442 w 8143047"/>
              <a:gd name="connsiteY4" fmla="*/ 2379219 h 2393506"/>
              <a:gd name="connsiteX5" fmla="*/ 2256774 w 8143047"/>
              <a:gd name="connsiteY5" fmla="*/ 1264793 h 2393506"/>
              <a:gd name="connsiteX6" fmla="*/ 1563830 w 8143047"/>
              <a:gd name="connsiteY6" fmla="*/ 1236219 h 2393506"/>
              <a:gd name="connsiteX7" fmla="*/ 927860 w 8143047"/>
              <a:gd name="connsiteY7" fmla="*/ 843589 h 2393506"/>
              <a:gd name="connsiteX8" fmla="*/ 0 w 8143047"/>
              <a:gd name="connsiteY8" fmla="*/ 843587 h 2393506"/>
              <a:gd name="connsiteX9" fmla="*/ 0 w 8143047"/>
              <a:gd name="connsiteY9" fmla="*/ 0 h 2393506"/>
              <a:gd name="connsiteX0" fmla="*/ 0 w 8143047"/>
              <a:gd name="connsiteY0" fmla="*/ 0 h 2441069"/>
              <a:gd name="connsiteX1" fmla="*/ 8143047 w 8143047"/>
              <a:gd name="connsiteY1" fmla="*/ 0 h 2441069"/>
              <a:gd name="connsiteX2" fmla="*/ 8143047 w 8143047"/>
              <a:gd name="connsiteY2" fmla="*/ 843587 h 2441069"/>
              <a:gd name="connsiteX3" fmla="*/ 6400149 w 8143047"/>
              <a:gd name="connsiteY3" fmla="*/ 2336356 h 2441069"/>
              <a:gd name="connsiteX4" fmla="*/ 3606943 w 8143047"/>
              <a:gd name="connsiteY4" fmla="*/ 2393506 h 2441069"/>
              <a:gd name="connsiteX5" fmla="*/ 3035442 w 8143047"/>
              <a:gd name="connsiteY5" fmla="*/ 2379219 h 2441069"/>
              <a:gd name="connsiteX6" fmla="*/ 2256774 w 8143047"/>
              <a:gd name="connsiteY6" fmla="*/ 1264793 h 2441069"/>
              <a:gd name="connsiteX7" fmla="*/ 1563830 w 8143047"/>
              <a:gd name="connsiteY7" fmla="*/ 1236219 h 2441069"/>
              <a:gd name="connsiteX8" fmla="*/ 927860 w 8143047"/>
              <a:gd name="connsiteY8" fmla="*/ 843589 h 2441069"/>
              <a:gd name="connsiteX9" fmla="*/ 0 w 8143047"/>
              <a:gd name="connsiteY9" fmla="*/ 843587 h 2441069"/>
              <a:gd name="connsiteX10" fmla="*/ 0 w 8143047"/>
              <a:gd name="connsiteY10" fmla="*/ 0 h 2441069"/>
              <a:gd name="connsiteX0" fmla="*/ 0 w 8143047"/>
              <a:gd name="connsiteY0" fmla="*/ 0 h 2393506"/>
              <a:gd name="connsiteX1" fmla="*/ 8143047 w 8143047"/>
              <a:gd name="connsiteY1" fmla="*/ 0 h 2393506"/>
              <a:gd name="connsiteX2" fmla="*/ 8143047 w 8143047"/>
              <a:gd name="connsiteY2" fmla="*/ 843587 h 2393506"/>
              <a:gd name="connsiteX3" fmla="*/ 6400149 w 8143047"/>
              <a:gd name="connsiteY3" fmla="*/ 2336356 h 2393506"/>
              <a:gd name="connsiteX4" fmla="*/ 3606943 w 8143047"/>
              <a:gd name="connsiteY4" fmla="*/ 2393506 h 2393506"/>
              <a:gd name="connsiteX5" fmla="*/ 3035442 w 8143047"/>
              <a:gd name="connsiteY5" fmla="*/ 2379219 h 2393506"/>
              <a:gd name="connsiteX6" fmla="*/ 2256774 w 8143047"/>
              <a:gd name="connsiteY6" fmla="*/ 1264793 h 2393506"/>
              <a:gd name="connsiteX7" fmla="*/ 1563830 w 8143047"/>
              <a:gd name="connsiteY7" fmla="*/ 1236219 h 2393506"/>
              <a:gd name="connsiteX8" fmla="*/ 927860 w 8143047"/>
              <a:gd name="connsiteY8" fmla="*/ 843589 h 2393506"/>
              <a:gd name="connsiteX9" fmla="*/ 0 w 8143047"/>
              <a:gd name="connsiteY9" fmla="*/ 843587 h 2393506"/>
              <a:gd name="connsiteX10" fmla="*/ 0 w 8143047"/>
              <a:gd name="connsiteY10" fmla="*/ 0 h 2393506"/>
              <a:gd name="connsiteX0" fmla="*/ 0 w 8143047"/>
              <a:gd name="connsiteY0" fmla="*/ 0 h 2393506"/>
              <a:gd name="connsiteX1" fmla="*/ 8143047 w 8143047"/>
              <a:gd name="connsiteY1" fmla="*/ 0 h 2393506"/>
              <a:gd name="connsiteX2" fmla="*/ 8143047 w 8143047"/>
              <a:gd name="connsiteY2" fmla="*/ 843587 h 2393506"/>
              <a:gd name="connsiteX3" fmla="*/ 6400149 w 8143047"/>
              <a:gd name="connsiteY3" fmla="*/ 2336356 h 2393506"/>
              <a:gd name="connsiteX4" fmla="*/ 3606943 w 8143047"/>
              <a:gd name="connsiteY4" fmla="*/ 2393506 h 2393506"/>
              <a:gd name="connsiteX5" fmla="*/ 3035442 w 8143047"/>
              <a:gd name="connsiteY5" fmla="*/ 2379219 h 2393506"/>
              <a:gd name="connsiteX6" fmla="*/ 2256774 w 8143047"/>
              <a:gd name="connsiteY6" fmla="*/ 1264793 h 2393506"/>
              <a:gd name="connsiteX7" fmla="*/ 1563830 w 8143047"/>
              <a:gd name="connsiteY7" fmla="*/ 1236219 h 2393506"/>
              <a:gd name="connsiteX8" fmla="*/ 927860 w 8143047"/>
              <a:gd name="connsiteY8" fmla="*/ 843589 h 2393506"/>
              <a:gd name="connsiteX9" fmla="*/ 0 w 8143047"/>
              <a:gd name="connsiteY9" fmla="*/ 843587 h 2393506"/>
              <a:gd name="connsiteX10" fmla="*/ 0 w 8143047"/>
              <a:gd name="connsiteY10" fmla="*/ 0 h 2393506"/>
              <a:gd name="connsiteX0" fmla="*/ 0 w 8143047"/>
              <a:gd name="connsiteY0" fmla="*/ 0 h 2393506"/>
              <a:gd name="connsiteX1" fmla="*/ 8143047 w 8143047"/>
              <a:gd name="connsiteY1" fmla="*/ 0 h 2393506"/>
              <a:gd name="connsiteX2" fmla="*/ 8143047 w 8143047"/>
              <a:gd name="connsiteY2" fmla="*/ 843587 h 2393506"/>
              <a:gd name="connsiteX3" fmla="*/ 6400149 w 8143047"/>
              <a:gd name="connsiteY3" fmla="*/ 2336356 h 2393506"/>
              <a:gd name="connsiteX4" fmla="*/ 3606943 w 8143047"/>
              <a:gd name="connsiteY4" fmla="*/ 2393506 h 2393506"/>
              <a:gd name="connsiteX5" fmla="*/ 3035442 w 8143047"/>
              <a:gd name="connsiteY5" fmla="*/ 2379219 h 2393506"/>
              <a:gd name="connsiteX6" fmla="*/ 2256774 w 8143047"/>
              <a:gd name="connsiteY6" fmla="*/ 1264793 h 2393506"/>
              <a:gd name="connsiteX7" fmla="*/ 1563830 w 8143047"/>
              <a:gd name="connsiteY7" fmla="*/ 1236219 h 2393506"/>
              <a:gd name="connsiteX8" fmla="*/ 927860 w 8143047"/>
              <a:gd name="connsiteY8" fmla="*/ 843589 h 2393506"/>
              <a:gd name="connsiteX9" fmla="*/ 0 w 8143047"/>
              <a:gd name="connsiteY9" fmla="*/ 843587 h 2393506"/>
              <a:gd name="connsiteX10" fmla="*/ 0 w 8143047"/>
              <a:gd name="connsiteY10" fmla="*/ 0 h 2393506"/>
              <a:gd name="connsiteX0" fmla="*/ 0 w 8143047"/>
              <a:gd name="connsiteY0" fmla="*/ 0 h 2393506"/>
              <a:gd name="connsiteX1" fmla="*/ 920893 w 8143047"/>
              <a:gd name="connsiteY1" fmla="*/ 350 h 2393506"/>
              <a:gd name="connsiteX2" fmla="*/ 8143047 w 8143047"/>
              <a:gd name="connsiteY2" fmla="*/ 0 h 2393506"/>
              <a:gd name="connsiteX3" fmla="*/ 8143047 w 8143047"/>
              <a:gd name="connsiteY3" fmla="*/ 843587 h 2393506"/>
              <a:gd name="connsiteX4" fmla="*/ 6400149 w 8143047"/>
              <a:gd name="connsiteY4" fmla="*/ 2336356 h 2393506"/>
              <a:gd name="connsiteX5" fmla="*/ 3606943 w 8143047"/>
              <a:gd name="connsiteY5" fmla="*/ 2393506 h 2393506"/>
              <a:gd name="connsiteX6" fmla="*/ 3035442 w 8143047"/>
              <a:gd name="connsiteY6" fmla="*/ 2379219 h 2393506"/>
              <a:gd name="connsiteX7" fmla="*/ 2256774 w 8143047"/>
              <a:gd name="connsiteY7" fmla="*/ 1264793 h 2393506"/>
              <a:gd name="connsiteX8" fmla="*/ 1563830 w 8143047"/>
              <a:gd name="connsiteY8" fmla="*/ 1236219 h 2393506"/>
              <a:gd name="connsiteX9" fmla="*/ 927860 w 8143047"/>
              <a:gd name="connsiteY9" fmla="*/ 843589 h 2393506"/>
              <a:gd name="connsiteX10" fmla="*/ 0 w 8143047"/>
              <a:gd name="connsiteY10" fmla="*/ 843587 h 2393506"/>
              <a:gd name="connsiteX11" fmla="*/ 0 w 8143047"/>
              <a:gd name="connsiteY11" fmla="*/ 0 h 2393506"/>
              <a:gd name="connsiteX0" fmla="*/ 0 w 8143047"/>
              <a:gd name="connsiteY0" fmla="*/ 0 h 2393506"/>
              <a:gd name="connsiteX1" fmla="*/ 920893 w 8143047"/>
              <a:gd name="connsiteY1" fmla="*/ 350 h 2393506"/>
              <a:gd name="connsiteX2" fmla="*/ 8143047 w 8143047"/>
              <a:gd name="connsiteY2" fmla="*/ 0 h 2393506"/>
              <a:gd name="connsiteX3" fmla="*/ 8143047 w 8143047"/>
              <a:gd name="connsiteY3" fmla="*/ 843587 h 2393506"/>
              <a:gd name="connsiteX4" fmla="*/ 6400149 w 8143047"/>
              <a:gd name="connsiteY4" fmla="*/ 2336356 h 2393506"/>
              <a:gd name="connsiteX5" fmla="*/ 3606943 w 8143047"/>
              <a:gd name="connsiteY5" fmla="*/ 2393506 h 2393506"/>
              <a:gd name="connsiteX6" fmla="*/ 3035442 w 8143047"/>
              <a:gd name="connsiteY6" fmla="*/ 2379219 h 2393506"/>
              <a:gd name="connsiteX7" fmla="*/ 2256774 w 8143047"/>
              <a:gd name="connsiteY7" fmla="*/ 1264793 h 2393506"/>
              <a:gd name="connsiteX8" fmla="*/ 1563830 w 8143047"/>
              <a:gd name="connsiteY8" fmla="*/ 1236219 h 2393506"/>
              <a:gd name="connsiteX9" fmla="*/ 927860 w 8143047"/>
              <a:gd name="connsiteY9" fmla="*/ 843589 h 2393506"/>
              <a:gd name="connsiteX10" fmla="*/ 0 w 8143047"/>
              <a:gd name="connsiteY10" fmla="*/ 843587 h 2393506"/>
              <a:gd name="connsiteX11" fmla="*/ 0 w 8143047"/>
              <a:gd name="connsiteY11" fmla="*/ 0 h 2393506"/>
              <a:gd name="connsiteX0" fmla="*/ 0 w 8143047"/>
              <a:gd name="connsiteY0" fmla="*/ 14621 h 2408127"/>
              <a:gd name="connsiteX1" fmla="*/ 920893 w 8143047"/>
              <a:gd name="connsiteY1" fmla="*/ 14971 h 2408127"/>
              <a:gd name="connsiteX2" fmla="*/ 1570974 w 8143047"/>
              <a:gd name="connsiteY2" fmla="*/ 350727 h 2408127"/>
              <a:gd name="connsiteX3" fmla="*/ 8143047 w 8143047"/>
              <a:gd name="connsiteY3" fmla="*/ 14621 h 2408127"/>
              <a:gd name="connsiteX4" fmla="*/ 8143047 w 8143047"/>
              <a:gd name="connsiteY4" fmla="*/ 858208 h 2408127"/>
              <a:gd name="connsiteX5" fmla="*/ 6400149 w 8143047"/>
              <a:gd name="connsiteY5" fmla="*/ 2350977 h 2408127"/>
              <a:gd name="connsiteX6" fmla="*/ 3606943 w 8143047"/>
              <a:gd name="connsiteY6" fmla="*/ 2408127 h 2408127"/>
              <a:gd name="connsiteX7" fmla="*/ 3035442 w 8143047"/>
              <a:gd name="connsiteY7" fmla="*/ 2393840 h 2408127"/>
              <a:gd name="connsiteX8" fmla="*/ 2256774 w 8143047"/>
              <a:gd name="connsiteY8" fmla="*/ 1279414 h 2408127"/>
              <a:gd name="connsiteX9" fmla="*/ 1563830 w 8143047"/>
              <a:gd name="connsiteY9" fmla="*/ 1250840 h 2408127"/>
              <a:gd name="connsiteX10" fmla="*/ 927860 w 8143047"/>
              <a:gd name="connsiteY10" fmla="*/ 858210 h 2408127"/>
              <a:gd name="connsiteX11" fmla="*/ 0 w 8143047"/>
              <a:gd name="connsiteY11" fmla="*/ 858208 h 2408127"/>
              <a:gd name="connsiteX12" fmla="*/ 0 w 8143047"/>
              <a:gd name="connsiteY12" fmla="*/ 14621 h 2408127"/>
              <a:gd name="connsiteX0" fmla="*/ 0 w 8143047"/>
              <a:gd name="connsiteY0" fmla="*/ 14621 h 2408127"/>
              <a:gd name="connsiteX1" fmla="*/ 920893 w 8143047"/>
              <a:gd name="connsiteY1" fmla="*/ 14971 h 2408127"/>
              <a:gd name="connsiteX2" fmla="*/ 1570974 w 8143047"/>
              <a:gd name="connsiteY2" fmla="*/ 350727 h 2408127"/>
              <a:gd name="connsiteX3" fmla="*/ 8143047 w 8143047"/>
              <a:gd name="connsiteY3" fmla="*/ 14621 h 2408127"/>
              <a:gd name="connsiteX4" fmla="*/ 8143047 w 8143047"/>
              <a:gd name="connsiteY4" fmla="*/ 858208 h 2408127"/>
              <a:gd name="connsiteX5" fmla="*/ 6400149 w 8143047"/>
              <a:gd name="connsiteY5" fmla="*/ 2350977 h 2408127"/>
              <a:gd name="connsiteX6" fmla="*/ 3606943 w 8143047"/>
              <a:gd name="connsiteY6" fmla="*/ 2408127 h 2408127"/>
              <a:gd name="connsiteX7" fmla="*/ 3035442 w 8143047"/>
              <a:gd name="connsiteY7" fmla="*/ 2393840 h 2408127"/>
              <a:gd name="connsiteX8" fmla="*/ 2256774 w 8143047"/>
              <a:gd name="connsiteY8" fmla="*/ 1279414 h 2408127"/>
              <a:gd name="connsiteX9" fmla="*/ 1563830 w 8143047"/>
              <a:gd name="connsiteY9" fmla="*/ 1250840 h 2408127"/>
              <a:gd name="connsiteX10" fmla="*/ 927860 w 8143047"/>
              <a:gd name="connsiteY10" fmla="*/ 858210 h 2408127"/>
              <a:gd name="connsiteX11" fmla="*/ 0 w 8143047"/>
              <a:gd name="connsiteY11" fmla="*/ 858208 h 2408127"/>
              <a:gd name="connsiteX12" fmla="*/ 0 w 8143047"/>
              <a:gd name="connsiteY12" fmla="*/ 14621 h 2408127"/>
              <a:gd name="connsiteX0" fmla="*/ 0 w 8143047"/>
              <a:gd name="connsiteY0" fmla="*/ 14621 h 2408127"/>
              <a:gd name="connsiteX1" fmla="*/ 920893 w 8143047"/>
              <a:gd name="connsiteY1" fmla="*/ 14971 h 2408127"/>
              <a:gd name="connsiteX2" fmla="*/ 1570974 w 8143047"/>
              <a:gd name="connsiteY2" fmla="*/ 350727 h 2408127"/>
              <a:gd name="connsiteX3" fmla="*/ 8143047 w 8143047"/>
              <a:gd name="connsiteY3" fmla="*/ 14621 h 2408127"/>
              <a:gd name="connsiteX4" fmla="*/ 8143047 w 8143047"/>
              <a:gd name="connsiteY4" fmla="*/ 858208 h 2408127"/>
              <a:gd name="connsiteX5" fmla="*/ 6400149 w 8143047"/>
              <a:gd name="connsiteY5" fmla="*/ 2350977 h 2408127"/>
              <a:gd name="connsiteX6" fmla="*/ 3606943 w 8143047"/>
              <a:gd name="connsiteY6" fmla="*/ 2408127 h 2408127"/>
              <a:gd name="connsiteX7" fmla="*/ 3035442 w 8143047"/>
              <a:gd name="connsiteY7" fmla="*/ 2393840 h 2408127"/>
              <a:gd name="connsiteX8" fmla="*/ 2256774 w 8143047"/>
              <a:gd name="connsiteY8" fmla="*/ 1279414 h 2408127"/>
              <a:gd name="connsiteX9" fmla="*/ 1563830 w 8143047"/>
              <a:gd name="connsiteY9" fmla="*/ 1250840 h 2408127"/>
              <a:gd name="connsiteX10" fmla="*/ 927860 w 8143047"/>
              <a:gd name="connsiteY10" fmla="*/ 858210 h 2408127"/>
              <a:gd name="connsiteX11" fmla="*/ 0 w 8143047"/>
              <a:gd name="connsiteY11" fmla="*/ 858208 h 2408127"/>
              <a:gd name="connsiteX12" fmla="*/ 0 w 8143047"/>
              <a:gd name="connsiteY12" fmla="*/ 14621 h 2408127"/>
              <a:gd name="connsiteX0" fmla="*/ 0 w 8143047"/>
              <a:gd name="connsiteY0" fmla="*/ 13391 h 2406897"/>
              <a:gd name="connsiteX1" fmla="*/ 920893 w 8143047"/>
              <a:gd name="connsiteY1" fmla="*/ 13741 h 2406897"/>
              <a:gd name="connsiteX2" fmla="*/ 1570974 w 8143047"/>
              <a:gd name="connsiteY2" fmla="*/ 349497 h 2406897"/>
              <a:gd name="connsiteX3" fmla="*/ 2292493 w 8143047"/>
              <a:gd name="connsiteY3" fmla="*/ 385217 h 2406897"/>
              <a:gd name="connsiteX4" fmla="*/ 8143047 w 8143047"/>
              <a:gd name="connsiteY4" fmla="*/ 13391 h 2406897"/>
              <a:gd name="connsiteX5" fmla="*/ 8143047 w 8143047"/>
              <a:gd name="connsiteY5" fmla="*/ 856978 h 2406897"/>
              <a:gd name="connsiteX6" fmla="*/ 6400149 w 8143047"/>
              <a:gd name="connsiteY6" fmla="*/ 2349747 h 2406897"/>
              <a:gd name="connsiteX7" fmla="*/ 3606943 w 8143047"/>
              <a:gd name="connsiteY7" fmla="*/ 2406897 h 2406897"/>
              <a:gd name="connsiteX8" fmla="*/ 3035442 w 8143047"/>
              <a:gd name="connsiteY8" fmla="*/ 2392610 h 2406897"/>
              <a:gd name="connsiteX9" fmla="*/ 2256774 w 8143047"/>
              <a:gd name="connsiteY9" fmla="*/ 1278184 h 2406897"/>
              <a:gd name="connsiteX10" fmla="*/ 1563830 w 8143047"/>
              <a:gd name="connsiteY10" fmla="*/ 1249610 h 2406897"/>
              <a:gd name="connsiteX11" fmla="*/ 927860 w 8143047"/>
              <a:gd name="connsiteY11" fmla="*/ 856980 h 2406897"/>
              <a:gd name="connsiteX12" fmla="*/ 0 w 8143047"/>
              <a:gd name="connsiteY12" fmla="*/ 856978 h 2406897"/>
              <a:gd name="connsiteX13" fmla="*/ 0 w 8143047"/>
              <a:gd name="connsiteY13" fmla="*/ 13391 h 2406897"/>
              <a:gd name="connsiteX0" fmla="*/ 0 w 8143047"/>
              <a:gd name="connsiteY0" fmla="*/ 13391 h 2406897"/>
              <a:gd name="connsiteX1" fmla="*/ 920893 w 8143047"/>
              <a:gd name="connsiteY1" fmla="*/ 13741 h 2406897"/>
              <a:gd name="connsiteX2" fmla="*/ 1570974 w 8143047"/>
              <a:gd name="connsiteY2" fmla="*/ 349497 h 2406897"/>
              <a:gd name="connsiteX3" fmla="*/ 2292493 w 8143047"/>
              <a:gd name="connsiteY3" fmla="*/ 385217 h 2406897"/>
              <a:gd name="connsiteX4" fmla="*/ 8143047 w 8143047"/>
              <a:gd name="connsiteY4" fmla="*/ 13391 h 2406897"/>
              <a:gd name="connsiteX5" fmla="*/ 8143047 w 8143047"/>
              <a:gd name="connsiteY5" fmla="*/ 856978 h 2406897"/>
              <a:gd name="connsiteX6" fmla="*/ 6400149 w 8143047"/>
              <a:gd name="connsiteY6" fmla="*/ 2349747 h 2406897"/>
              <a:gd name="connsiteX7" fmla="*/ 3606943 w 8143047"/>
              <a:gd name="connsiteY7" fmla="*/ 2406897 h 2406897"/>
              <a:gd name="connsiteX8" fmla="*/ 3035442 w 8143047"/>
              <a:gd name="connsiteY8" fmla="*/ 2392610 h 2406897"/>
              <a:gd name="connsiteX9" fmla="*/ 2256774 w 8143047"/>
              <a:gd name="connsiteY9" fmla="*/ 1278184 h 2406897"/>
              <a:gd name="connsiteX10" fmla="*/ 1563830 w 8143047"/>
              <a:gd name="connsiteY10" fmla="*/ 1249610 h 2406897"/>
              <a:gd name="connsiteX11" fmla="*/ 927860 w 8143047"/>
              <a:gd name="connsiteY11" fmla="*/ 856980 h 2406897"/>
              <a:gd name="connsiteX12" fmla="*/ 0 w 8143047"/>
              <a:gd name="connsiteY12" fmla="*/ 856978 h 2406897"/>
              <a:gd name="connsiteX13" fmla="*/ 0 w 8143047"/>
              <a:gd name="connsiteY13" fmla="*/ 13391 h 2406897"/>
              <a:gd name="connsiteX0" fmla="*/ 0 w 8143047"/>
              <a:gd name="connsiteY0" fmla="*/ 13391 h 2406897"/>
              <a:gd name="connsiteX1" fmla="*/ 920893 w 8143047"/>
              <a:gd name="connsiteY1" fmla="*/ 13741 h 2406897"/>
              <a:gd name="connsiteX2" fmla="*/ 1570974 w 8143047"/>
              <a:gd name="connsiteY2" fmla="*/ 349497 h 2406897"/>
              <a:gd name="connsiteX3" fmla="*/ 2292493 w 8143047"/>
              <a:gd name="connsiteY3" fmla="*/ 385217 h 2406897"/>
              <a:gd name="connsiteX4" fmla="*/ 8143047 w 8143047"/>
              <a:gd name="connsiteY4" fmla="*/ 13391 h 2406897"/>
              <a:gd name="connsiteX5" fmla="*/ 8143047 w 8143047"/>
              <a:gd name="connsiteY5" fmla="*/ 856978 h 2406897"/>
              <a:gd name="connsiteX6" fmla="*/ 6400149 w 8143047"/>
              <a:gd name="connsiteY6" fmla="*/ 2349747 h 2406897"/>
              <a:gd name="connsiteX7" fmla="*/ 3606943 w 8143047"/>
              <a:gd name="connsiteY7" fmla="*/ 2406897 h 2406897"/>
              <a:gd name="connsiteX8" fmla="*/ 3035442 w 8143047"/>
              <a:gd name="connsiteY8" fmla="*/ 2392610 h 2406897"/>
              <a:gd name="connsiteX9" fmla="*/ 2256774 w 8143047"/>
              <a:gd name="connsiteY9" fmla="*/ 1278184 h 2406897"/>
              <a:gd name="connsiteX10" fmla="*/ 1563830 w 8143047"/>
              <a:gd name="connsiteY10" fmla="*/ 1249610 h 2406897"/>
              <a:gd name="connsiteX11" fmla="*/ 927860 w 8143047"/>
              <a:gd name="connsiteY11" fmla="*/ 856980 h 2406897"/>
              <a:gd name="connsiteX12" fmla="*/ 0 w 8143047"/>
              <a:gd name="connsiteY12" fmla="*/ 856978 h 2406897"/>
              <a:gd name="connsiteX13" fmla="*/ 0 w 8143047"/>
              <a:gd name="connsiteY13" fmla="*/ 13391 h 2406897"/>
              <a:gd name="connsiteX0" fmla="*/ 0 w 8143047"/>
              <a:gd name="connsiteY0" fmla="*/ 13806 h 2407312"/>
              <a:gd name="connsiteX1" fmla="*/ 920893 w 8143047"/>
              <a:gd name="connsiteY1" fmla="*/ 14156 h 2407312"/>
              <a:gd name="connsiteX2" fmla="*/ 1570974 w 8143047"/>
              <a:gd name="connsiteY2" fmla="*/ 349912 h 2407312"/>
              <a:gd name="connsiteX3" fmla="*/ 2306781 w 8143047"/>
              <a:gd name="connsiteY3" fmla="*/ 371345 h 2407312"/>
              <a:gd name="connsiteX4" fmla="*/ 8143047 w 8143047"/>
              <a:gd name="connsiteY4" fmla="*/ 13806 h 2407312"/>
              <a:gd name="connsiteX5" fmla="*/ 8143047 w 8143047"/>
              <a:gd name="connsiteY5" fmla="*/ 857393 h 2407312"/>
              <a:gd name="connsiteX6" fmla="*/ 6400149 w 8143047"/>
              <a:gd name="connsiteY6" fmla="*/ 2350162 h 2407312"/>
              <a:gd name="connsiteX7" fmla="*/ 3606943 w 8143047"/>
              <a:gd name="connsiteY7" fmla="*/ 2407312 h 2407312"/>
              <a:gd name="connsiteX8" fmla="*/ 3035442 w 8143047"/>
              <a:gd name="connsiteY8" fmla="*/ 2393025 h 2407312"/>
              <a:gd name="connsiteX9" fmla="*/ 2256774 w 8143047"/>
              <a:gd name="connsiteY9" fmla="*/ 1278599 h 2407312"/>
              <a:gd name="connsiteX10" fmla="*/ 1563830 w 8143047"/>
              <a:gd name="connsiteY10" fmla="*/ 1250025 h 2407312"/>
              <a:gd name="connsiteX11" fmla="*/ 927860 w 8143047"/>
              <a:gd name="connsiteY11" fmla="*/ 857395 h 2407312"/>
              <a:gd name="connsiteX12" fmla="*/ 0 w 8143047"/>
              <a:gd name="connsiteY12" fmla="*/ 857393 h 2407312"/>
              <a:gd name="connsiteX13" fmla="*/ 0 w 8143047"/>
              <a:gd name="connsiteY13" fmla="*/ 13806 h 2407312"/>
              <a:gd name="connsiteX0" fmla="*/ 0 w 8143047"/>
              <a:gd name="connsiteY0" fmla="*/ 7960 h 2401466"/>
              <a:gd name="connsiteX1" fmla="*/ 920893 w 8143047"/>
              <a:gd name="connsiteY1" fmla="*/ 8310 h 2401466"/>
              <a:gd name="connsiteX2" fmla="*/ 1570974 w 8143047"/>
              <a:gd name="connsiteY2" fmla="*/ 344066 h 2401466"/>
              <a:gd name="connsiteX3" fmla="*/ 2306781 w 8143047"/>
              <a:gd name="connsiteY3" fmla="*/ 365499 h 2401466"/>
              <a:gd name="connsiteX4" fmla="*/ 3042587 w 8143047"/>
              <a:gd name="connsiteY4" fmla="*/ 651249 h 2401466"/>
              <a:gd name="connsiteX5" fmla="*/ 8143047 w 8143047"/>
              <a:gd name="connsiteY5" fmla="*/ 7960 h 2401466"/>
              <a:gd name="connsiteX6" fmla="*/ 8143047 w 8143047"/>
              <a:gd name="connsiteY6" fmla="*/ 851547 h 2401466"/>
              <a:gd name="connsiteX7" fmla="*/ 6400149 w 8143047"/>
              <a:gd name="connsiteY7" fmla="*/ 2344316 h 2401466"/>
              <a:gd name="connsiteX8" fmla="*/ 3606943 w 8143047"/>
              <a:gd name="connsiteY8" fmla="*/ 2401466 h 2401466"/>
              <a:gd name="connsiteX9" fmla="*/ 3035442 w 8143047"/>
              <a:gd name="connsiteY9" fmla="*/ 2387179 h 2401466"/>
              <a:gd name="connsiteX10" fmla="*/ 2256774 w 8143047"/>
              <a:gd name="connsiteY10" fmla="*/ 1272753 h 2401466"/>
              <a:gd name="connsiteX11" fmla="*/ 1563830 w 8143047"/>
              <a:gd name="connsiteY11" fmla="*/ 1244179 h 2401466"/>
              <a:gd name="connsiteX12" fmla="*/ 927860 w 8143047"/>
              <a:gd name="connsiteY12" fmla="*/ 851549 h 2401466"/>
              <a:gd name="connsiteX13" fmla="*/ 0 w 8143047"/>
              <a:gd name="connsiteY13" fmla="*/ 851547 h 2401466"/>
              <a:gd name="connsiteX14" fmla="*/ 0 w 8143047"/>
              <a:gd name="connsiteY14" fmla="*/ 7960 h 2401466"/>
              <a:gd name="connsiteX0" fmla="*/ 0 w 8143047"/>
              <a:gd name="connsiteY0" fmla="*/ 7960 h 2401466"/>
              <a:gd name="connsiteX1" fmla="*/ 920893 w 8143047"/>
              <a:gd name="connsiteY1" fmla="*/ 8310 h 2401466"/>
              <a:gd name="connsiteX2" fmla="*/ 1570974 w 8143047"/>
              <a:gd name="connsiteY2" fmla="*/ 344066 h 2401466"/>
              <a:gd name="connsiteX3" fmla="*/ 2306781 w 8143047"/>
              <a:gd name="connsiteY3" fmla="*/ 365499 h 2401466"/>
              <a:gd name="connsiteX4" fmla="*/ 3042587 w 8143047"/>
              <a:gd name="connsiteY4" fmla="*/ 651249 h 2401466"/>
              <a:gd name="connsiteX5" fmla="*/ 8143047 w 8143047"/>
              <a:gd name="connsiteY5" fmla="*/ 7960 h 2401466"/>
              <a:gd name="connsiteX6" fmla="*/ 8143047 w 8143047"/>
              <a:gd name="connsiteY6" fmla="*/ 851547 h 2401466"/>
              <a:gd name="connsiteX7" fmla="*/ 6400149 w 8143047"/>
              <a:gd name="connsiteY7" fmla="*/ 2344316 h 2401466"/>
              <a:gd name="connsiteX8" fmla="*/ 3606943 w 8143047"/>
              <a:gd name="connsiteY8" fmla="*/ 2401466 h 2401466"/>
              <a:gd name="connsiteX9" fmla="*/ 3035442 w 8143047"/>
              <a:gd name="connsiteY9" fmla="*/ 2387179 h 2401466"/>
              <a:gd name="connsiteX10" fmla="*/ 2256774 w 8143047"/>
              <a:gd name="connsiteY10" fmla="*/ 1272753 h 2401466"/>
              <a:gd name="connsiteX11" fmla="*/ 1563830 w 8143047"/>
              <a:gd name="connsiteY11" fmla="*/ 1244179 h 2401466"/>
              <a:gd name="connsiteX12" fmla="*/ 927860 w 8143047"/>
              <a:gd name="connsiteY12" fmla="*/ 851549 h 2401466"/>
              <a:gd name="connsiteX13" fmla="*/ 0 w 8143047"/>
              <a:gd name="connsiteY13" fmla="*/ 851547 h 2401466"/>
              <a:gd name="connsiteX14" fmla="*/ 0 w 8143047"/>
              <a:gd name="connsiteY14" fmla="*/ 7960 h 2401466"/>
              <a:gd name="connsiteX0" fmla="*/ 0 w 8143047"/>
              <a:gd name="connsiteY0" fmla="*/ 7960 h 2401466"/>
              <a:gd name="connsiteX1" fmla="*/ 920893 w 8143047"/>
              <a:gd name="connsiteY1" fmla="*/ 8310 h 2401466"/>
              <a:gd name="connsiteX2" fmla="*/ 1570974 w 8143047"/>
              <a:gd name="connsiteY2" fmla="*/ 344066 h 2401466"/>
              <a:gd name="connsiteX3" fmla="*/ 2306781 w 8143047"/>
              <a:gd name="connsiteY3" fmla="*/ 365499 h 2401466"/>
              <a:gd name="connsiteX4" fmla="*/ 3042587 w 8143047"/>
              <a:gd name="connsiteY4" fmla="*/ 651249 h 2401466"/>
              <a:gd name="connsiteX5" fmla="*/ 8143047 w 8143047"/>
              <a:gd name="connsiteY5" fmla="*/ 7960 h 2401466"/>
              <a:gd name="connsiteX6" fmla="*/ 8143047 w 8143047"/>
              <a:gd name="connsiteY6" fmla="*/ 851547 h 2401466"/>
              <a:gd name="connsiteX7" fmla="*/ 6400149 w 8143047"/>
              <a:gd name="connsiteY7" fmla="*/ 2344316 h 2401466"/>
              <a:gd name="connsiteX8" fmla="*/ 3606943 w 8143047"/>
              <a:gd name="connsiteY8" fmla="*/ 2401466 h 2401466"/>
              <a:gd name="connsiteX9" fmla="*/ 3035442 w 8143047"/>
              <a:gd name="connsiteY9" fmla="*/ 2387179 h 2401466"/>
              <a:gd name="connsiteX10" fmla="*/ 2256774 w 8143047"/>
              <a:gd name="connsiteY10" fmla="*/ 1272753 h 2401466"/>
              <a:gd name="connsiteX11" fmla="*/ 1563830 w 8143047"/>
              <a:gd name="connsiteY11" fmla="*/ 1244179 h 2401466"/>
              <a:gd name="connsiteX12" fmla="*/ 927860 w 8143047"/>
              <a:gd name="connsiteY12" fmla="*/ 851549 h 2401466"/>
              <a:gd name="connsiteX13" fmla="*/ 0 w 8143047"/>
              <a:gd name="connsiteY13" fmla="*/ 851547 h 2401466"/>
              <a:gd name="connsiteX14" fmla="*/ 0 w 8143047"/>
              <a:gd name="connsiteY14" fmla="*/ 7960 h 2401466"/>
              <a:gd name="connsiteX0" fmla="*/ 0 w 8143047"/>
              <a:gd name="connsiteY0" fmla="*/ 11680 h 2405186"/>
              <a:gd name="connsiteX1" fmla="*/ 920893 w 8143047"/>
              <a:gd name="connsiteY1" fmla="*/ 12030 h 2405186"/>
              <a:gd name="connsiteX2" fmla="*/ 1570974 w 8143047"/>
              <a:gd name="connsiteY2" fmla="*/ 347786 h 2405186"/>
              <a:gd name="connsiteX3" fmla="*/ 2306781 w 8143047"/>
              <a:gd name="connsiteY3" fmla="*/ 369219 h 2405186"/>
              <a:gd name="connsiteX4" fmla="*/ 3042587 w 8143047"/>
              <a:gd name="connsiteY4" fmla="*/ 654969 h 2405186"/>
              <a:gd name="connsiteX5" fmla="*/ 6292993 w 8143047"/>
              <a:gd name="connsiteY5" fmla="*/ 604962 h 2405186"/>
              <a:gd name="connsiteX6" fmla="*/ 8143047 w 8143047"/>
              <a:gd name="connsiteY6" fmla="*/ 11680 h 2405186"/>
              <a:gd name="connsiteX7" fmla="*/ 8143047 w 8143047"/>
              <a:gd name="connsiteY7" fmla="*/ 855267 h 2405186"/>
              <a:gd name="connsiteX8" fmla="*/ 6400149 w 8143047"/>
              <a:gd name="connsiteY8" fmla="*/ 2348036 h 2405186"/>
              <a:gd name="connsiteX9" fmla="*/ 3606943 w 8143047"/>
              <a:gd name="connsiteY9" fmla="*/ 2405186 h 2405186"/>
              <a:gd name="connsiteX10" fmla="*/ 3035442 w 8143047"/>
              <a:gd name="connsiteY10" fmla="*/ 2390899 h 2405186"/>
              <a:gd name="connsiteX11" fmla="*/ 2256774 w 8143047"/>
              <a:gd name="connsiteY11" fmla="*/ 1276473 h 2405186"/>
              <a:gd name="connsiteX12" fmla="*/ 1563830 w 8143047"/>
              <a:gd name="connsiteY12" fmla="*/ 1247899 h 2405186"/>
              <a:gd name="connsiteX13" fmla="*/ 927860 w 8143047"/>
              <a:gd name="connsiteY13" fmla="*/ 855269 h 2405186"/>
              <a:gd name="connsiteX14" fmla="*/ 0 w 8143047"/>
              <a:gd name="connsiteY14" fmla="*/ 855267 h 2405186"/>
              <a:gd name="connsiteX15" fmla="*/ 0 w 8143047"/>
              <a:gd name="connsiteY15" fmla="*/ 11680 h 2405186"/>
              <a:gd name="connsiteX0" fmla="*/ 0 w 8143047"/>
              <a:gd name="connsiteY0" fmla="*/ 11680 h 2405186"/>
              <a:gd name="connsiteX1" fmla="*/ 920893 w 8143047"/>
              <a:gd name="connsiteY1" fmla="*/ 12030 h 2405186"/>
              <a:gd name="connsiteX2" fmla="*/ 1570974 w 8143047"/>
              <a:gd name="connsiteY2" fmla="*/ 347786 h 2405186"/>
              <a:gd name="connsiteX3" fmla="*/ 2306781 w 8143047"/>
              <a:gd name="connsiteY3" fmla="*/ 369219 h 2405186"/>
              <a:gd name="connsiteX4" fmla="*/ 3042587 w 8143047"/>
              <a:gd name="connsiteY4" fmla="*/ 654969 h 2405186"/>
              <a:gd name="connsiteX5" fmla="*/ 6292993 w 8143047"/>
              <a:gd name="connsiteY5" fmla="*/ 604962 h 2405186"/>
              <a:gd name="connsiteX6" fmla="*/ 8143047 w 8143047"/>
              <a:gd name="connsiteY6" fmla="*/ 11680 h 2405186"/>
              <a:gd name="connsiteX7" fmla="*/ 8143047 w 8143047"/>
              <a:gd name="connsiteY7" fmla="*/ 855267 h 2405186"/>
              <a:gd name="connsiteX8" fmla="*/ 6400149 w 8143047"/>
              <a:gd name="connsiteY8" fmla="*/ 2348036 h 2405186"/>
              <a:gd name="connsiteX9" fmla="*/ 3606943 w 8143047"/>
              <a:gd name="connsiteY9" fmla="*/ 2405186 h 2405186"/>
              <a:gd name="connsiteX10" fmla="*/ 3035442 w 8143047"/>
              <a:gd name="connsiteY10" fmla="*/ 2390899 h 2405186"/>
              <a:gd name="connsiteX11" fmla="*/ 2256774 w 8143047"/>
              <a:gd name="connsiteY11" fmla="*/ 1276473 h 2405186"/>
              <a:gd name="connsiteX12" fmla="*/ 1563830 w 8143047"/>
              <a:gd name="connsiteY12" fmla="*/ 1247899 h 2405186"/>
              <a:gd name="connsiteX13" fmla="*/ 927860 w 8143047"/>
              <a:gd name="connsiteY13" fmla="*/ 855269 h 2405186"/>
              <a:gd name="connsiteX14" fmla="*/ 0 w 8143047"/>
              <a:gd name="connsiteY14" fmla="*/ 855267 h 2405186"/>
              <a:gd name="connsiteX15" fmla="*/ 0 w 8143047"/>
              <a:gd name="connsiteY15" fmla="*/ 11680 h 2405186"/>
              <a:gd name="connsiteX0" fmla="*/ 0 w 8143047"/>
              <a:gd name="connsiteY0" fmla="*/ 25954 h 2419460"/>
              <a:gd name="connsiteX1" fmla="*/ 920893 w 8143047"/>
              <a:gd name="connsiteY1" fmla="*/ 26304 h 2419460"/>
              <a:gd name="connsiteX2" fmla="*/ 1570974 w 8143047"/>
              <a:gd name="connsiteY2" fmla="*/ 362060 h 2419460"/>
              <a:gd name="connsiteX3" fmla="*/ 2306781 w 8143047"/>
              <a:gd name="connsiteY3" fmla="*/ 383493 h 2419460"/>
              <a:gd name="connsiteX4" fmla="*/ 3042587 w 8143047"/>
              <a:gd name="connsiteY4" fmla="*/ 669243 h 2419460"/>
              <a:gd name="connsiteX5" fmla="*/ 6292993 w 8143047"/>
              <a:gd name="connsiteY5" fmla="*/ 619236 h 2419460"/>
              <a:gd name="connsiteX6" fmla="*/ 8143047 w 8143047"/>
              <a:gd name="connsiteY6" fmla="*/ 25954 h 2419460"/>
              <a:gd name="connsiteX7" fmla="*/ 8143047 w 8143047"/>
              <a:gd name="connsiteY7" fmla="*/ 869541 h 2419460"/>
              <a:gd name="connsiteX8" fmla="*/ 6400149 w 8143047"/>
              <a:gd name="connsiteY8" fmla="*/ 2362310 h 2419460"/>
              <a:gd name="connsiteX9" fmla="*/ 3606943 w 8143047"/>
              <a:gd name="connsiteY9" fmla="*/ 2419460 h 2419460"/>
              <a:gd name="connsiteX10" fmla="*/ 3035442 w 8143047"/>
              <a:gd name="connsiteY10" fmla="*/ 2405173 h 2419460"/>
              <a:gd name="connsiteX11" fmla="*/ 2256774 w 8143047"/>
              <a:gd name="connsiteY11" fmla="*/ 1290747 h 2419460"/>
              <a:gd name="connsiteX12" fmla="*/ 1563830 w 8143047"/>
              <a:gd name="connsiteY12" fmla="*/ 1262173 h 2419460"/>
              <a:gd name="connsiteX13" fmla="*/ 927860 w 8143047"/>
              <a:gd name="connsiteY13" fmla="*/ 869543 h 2419460"/>
              <a:gd name="connsiteX14" fmla="*/ 0 w 8143047"/>
              <a:gd name="connsiteY14" fmla="*/ 869541 h 2419460"/>
              <a:gd name="connsiteX15" fmla="*/ 0 w 8143047"/>
              <a:gd name="connsiteY15" fmla="*/ 25954 h 2419460"/>
              <a:gd name="connsiteX0" fmla="*/ 0 w 8143047"/>
              <a:gd name="connsiteY0" fmla="*/ 61675 h 2455181"/>
              <a:gd name="connsiteX1" fmla="*/ 920893 w 8143047"/>
              <a:gd name="connsiteY1" fmla="*/ 62025 h 2455181"/>
              <a:gd name="connsiteX2" fmla="*/ 1570974 w 8143047"/>
              <a:gd name="connsiteY2" fmla="*/ 397781 h 2455181"/>
              <a:gd name="connsiteX3" fmla="*/ 2306781 w 8143047"/>
              <a:gd name="connsiteY3" fmla="*/ 419214 h 2455181"/>
              <a:gd name="connsiteX4" fmla="*/ 3042587 w 8143047"/>
              <a:gd name="connsiteY4" fmla="*/ 704964 h 2455181"/>
              <a:gd name="connsiteX5" fmla="*/ 6292993 w 8143047"/>
              <a:gd name="connsiteY5" fmla="*/ 654957 h 2455181"/>
              <a:gd name="connsiteX6" fmla="*/ 7078805 w 8143047"/>
              <a:gd name="connsiteY6" fmla="*/ 104889 h 2455181"/>
              <a:gd name="connsiteX7" fmla="*/ 8143047 w 8143047"/>
              <a:gd name="connsiteY7" fmla="*/ 61675 h 2455181"/>
              <a:gd name="connsiteX8" fmla="*/ 8143047 w 8143047"/>
              <a:gd name="connsiteY8" fmla="*/ 905262 h 2455181"/>
              <a:gd name="connsiteX9" fmla="*/ 6400149 w 8143047"/>
              <a:gd name="connsiteY9" fmla="*/ 2398031 h 2455181"/>
              <a:gd name="connsiteX10" fmla="*/ 3606943 w 8143047"/>
              <a:gd name="connsiteY10" fmla="*/ 2455181 h 2455181"/>
              <a:gd name="connsiteX11" fmla="*/ 3035442 w 8143047"/>
              <a:gd name="connsiteY11" fmla="*/ 2440894 h 2455181"/>
              <a:gd name="connsiteX12" fmla="*/ 2256774 w 8143047"/>
              <a:gd name="connsiteY12" fmla="*/ 1326468 h 2455181"/>
              <a:gd name="connsiteX13" fmla="*/ 1563830 w 8143047"/>
              <a:gd name="connsiteY13" fmla="*/ 1297894 h 2455181"/>
              <a:gd name="connsiteX14" fmla="*/ 927860 w 8143047"/>
              <a:gd name="connsiteY14" fmla="*/ 905264 h 2455181"/>
              <a:gd name="connsiteX15" fmla="*/ 0 w 8143047"/>
              <a:gd name="connsiteY15" fmla="*/ 905262 h 2455181"/>
              <a:gd name="connsiteX16" fmla="*/ 0 w 8143047"/>
              <a:gd name="connsiteY16" fmla="*/ 61675 h 2455181"/>
              <a:gd name="connsiteX0" fmla="*/ 0 w 8143047"/>
              <a:gd name="connsiteY0" fmla="*/ 52615 h 2446121"/>
              <a:gd name="connsiteX1" fmla="*/ 920893 w 8143047"/>
              <a:gd name="connsiteY1" fmla="*/ 52965 h 2446121"/>
              <a:gd name="connsiteX2" fmla="*/ 1570974 w 8143047"/>
              <a:gd name="connsiteY2" fmla="*/ 388721 h 2446121"/>
              <a:gd name="connsiteX3" fmla="*/ 2306781 w 8143047"/>
              <a:gd name="connsiteY3" fmla="*/ 410154 h 2446121"/>
              <a:gd name="connsiteX4" fmla="*/ 3042587 w 8143047"/>
              <a:gd name="connsiteY4" fmla="*/ 695904 h 2446121"/>
              <a:gd name="connsiteX5" fmla="*/ 6292993 w 8143047"/>
              <a:gd name="connsiteY5" fmla="*/ 645897 h 2446121"/>
              <a:gd name="connsiteX6" fmla="*/ 7078805 w 8143047"/>
              <a:gd name="connsiteY6" fmla="*/ 95829 h 2446121"/>
              <a:gd name="connsiteX7" fmla="*/ 8143047 w 8143047"/>
              <a:gd name="connsiteY7" fmla="*/ 52615 h 2446121"/>
              <a:gd name="connsiteX8" fmla="*/ 8143047 w 8143047"/>
              <a:gd name="connsiteY8" fmla="*/ 896202 h 2446121"/>
              <a:gd name="connsiteX9" fmla="*/ 6400149 w 8143047"/>
              <a:gd name="connsiteY9" fmla="*/ 2388971 h 2446121"/>
              <a:gd name="connsiteX10" fmla="*/ 3606943 w 8143047"/>
              <a:gd name="connsiteY10" fmla="*/ 2446121 h 2446121"/>
              <a:gd name="connsiteX11" fmla="*/ 3035442 w 8143047"/>
              <a:gd name="connsiteY11" fmla="*/ 2431834 h 2446121"/>
              <a:gd name="connsiteX12" fmla="*/ 2256774 w 8143047"/>
              <a:gd name="connsiteY12" fmla="*/ 1317408 h 2446121"/>
              <a:gd name="connsiteX13" fmla="*/ 1563830 w 8143047"/>
              <a:gd name="connsiteY13" fmla="*/ 1288834 h 2446121"/>
              <a:gd name="connsiteX14" fmla="*/ 927860 w 8143047"/>
              <a:gd name="connsiteY14" fmla="*/ 896204 h 2446121"/>
              <a:gd name="connsiteX15" fmla="*/ 0 w 8143047"/>
              <a:gd name="connsiteY15" fmla="*/ 896202 h 2446121"/>
              <a:gd name="connsiteX16" fmla="*/ 0 w 8143047"/>
              <a:gd name="connsiteY16" fmla="*/ 52615 h 2446121"/>
              <a:gd name="connsiteX0" fmla="*/ 0 w 8143047"/>
              <a:gd name="connsiteY0" fmla="*/ 69715 h 2463221"/>
              <a:gd name="connsiteX1" fmla="*/ 920893 w 8143047"/>
              <a:gd name="connsiteY1" fmla="*/ 70065 h 2463221"/>
              <a:gd name="connsiteX2" fmla="*/ 1570974 w 8143047"/>
              <a:gd name="connsiteY2" fmla="*/ 405821 h 2463221"/>
              <a:gd name="connsiteX3" fmla="*/ 2306781 w 8143047"/>
              <a:gd name="connsiteY3" fmla="*/ 427254 h 2463221"/>
              <a:gd name="connsiteX4" fmla="*/ 3042587 w 8143047"/>
              <a:gd name="connsiteY4" fmla="*/ 713004 h 2463221"/>
              <a:gd name="connsiteX5" fmla="*/ 6292993 w 8143047"/>
              <a:gd name="connsiteY5" fmla="*/ 662997 h 2463221"/>
              <a:gd name="connsiteX6" fmla="*/ 7093092 w 8143047"/>
              <a:gd name="connsiteY6" fmla="*/ 62923 h 2463221"/>
              <a:gd name="connsiteX7" fmla="*/ 8143047 w 8143047"/>
              <a:gd name="connsiteY7" fmla="*/ 69715 h 2463221"/>
              <a:gd name="connsiteX8" fmla="*/ 8143047 w 8143047"/>
              <a:gd name="connsiteY8" fmla="*/ 913302 h 2463221"/>
              <a:gd name="connsiteX9" fmla="*/ 6400149 w 8143047"/>
              <a:gd name="connsiteY9" fmla="*/ 2406071 h 2463221"/>
              <a:gd name="connsiteX10" fmla="*/ 3606943 w 8143047"/>
              <a:gd name="connsiteY10" fmla="*/ 2463221 h 2463221"/>
              <a:gd name="connsiteX11" fmla="*/ 3035442 w 8143047"/>
              <a:gd name="connsiteY11" fmla="*/ 2448934 h 2463221"/>
              <a:gd name="connsiteX12" fmla="*/ 2256774 w 8143047"/>
              <a:gd name="connsiteY12" fmla="*/ 1334508 h 2463221"/>
              <a:gd name="connsiteX13" fmla="*/ 1563830 w 8143047"/>
              <a:gd name="connsiteY13" fmla="*/ 1305934 h 2463221"/>
              <a:gd name="connsiteX14" fmla="*/ 927860 w 8143047"/>
              <a:gd name="connsiteY14" fmla="*/ 913304 h 2463221"/>
              <a:gd name="connsiteX15" fmla="*/ 0 w 8143047"/>
              <a:gd name="connsiteY15" fmla="*/ 913302 h 2463221"/>
              <a:gd name="connsiteX16" fmla="*/ 0 w 8143047"/>
              <a:gd name="connsiteY16" fmla="*/ 69715 h 2463221"/>
              <a:gd name="connsiteX0" fmla="*/ 0 w 8143047"/>
              <a:gd name="connsiteY0" fmla="*/ 61407 h 2454913"/>
              <a:gd name="connsiteX1" fmla="*/ 920893 w 8143047"/>
              <a:gd name="connsiteY1" fmla="*/ 61757 h 2454913"/>
              <a:gd name="connsiteX2" fmla="*/ 1570974 w 8143047"/>
              <a:gd name="connsiteY2" fmla="*/ 397513 h 2454913"/>
              <a:gd name="connsiteX3" fmla="*/ 2306781 w 8143047"/>
              <a:gd name="connsiteY3" fmla="*/ 418946 h 2454913"/>
              <a:gd name="connsiteX4" fmla="*/ 3042587 w 8143047"/>
              <a:gd name="connsiteY4" fmla="*/ 704696 h 2454913"/>
              <a:gd name="connsiteX5" fmla="*/ 6292993 w 8143047"/>
              <a:gd name="connsiteY5" fmla="*/ 654689 h 2454913"/>
              <a:gd name="connsiteX6" fmla="*/ 7093092 w 8143047"/>
              <a:gd name="connsiteY6" fmla="*/ 76046 h 2454913"/>
              <a:gd name="connsiteX7" fmla="*/ 8143047 w 8143047"/>
              <a:gd name="connsiteY7" fmla="*/ 61407 h 2454913"/>
              <a:gd name="connsiteX8" fmla="*/ 8143047 w 8143047"/>
              <a:gd name="connsiteY8" fmla="*/ 904994 h 2454913"/>
              <a:gd name="connsiteX9" fmla="*/ 6400149 w 8143047"/>
              <a:gd name="connsiteY9" fmla="*/ 2397763 h 2454913"/>
              <a:gd name="connsiteX10" fmla="*/ 3606943 w 8143047"/>
              <a:gd name="connsiteY10" fmla="*/ 2454913 h 2454913"/>
              <a:gd name="connsiteX11" fmla="*/ 3035442 w 8143047"/>
              <a:gd name="connsiteY11" fmla="*/ 2440626 h 2454913"/>
              <a:gd name="connsiteX12" fmla="*/ 2256774 w 8143047"/>
              <a:gd name="connsiteY12" fmla="*/ 1326200 h 2454913"/>
              <a:gd name="connsiteX13" fmla="*/ 1563830 w 8143047"/>
              <a:gd name="connsiteY13" fmla="*/ 1297626 h 2454913"/>
              <a:gd name="connsiteX14" fmla="*/ 927860 w 8143047"/>
              <a:gd name="connsiteY14" fmla="*/ 904996 h 2454913"/>
              <a:gd name="connsiteX15" fmla="*/ 0 w 8143047"/>
              <a:gd name="connsiteY15" fmla="*/ 904994 h 2454913"/>
              <a:gd name="connsiteX16" fmla="*/ 0 w 8143047"/>
              <a:gd name="connsiteY16" fmla="*/ 61407 h 2454913"/>
              <a:gd name="connsiteX0" fmla="*/ 0 w 8143047"/>
              <a:gd name="connsiteY0" fmla="*/ 52110 h 2445616"/>
              <a:gd name="connsiteX1" fmla="*/ 920893 w 8143047"/>
              <a:gd name="connsiteY1" fmla="*/ 52460 h 2445616"/>
              <a:gd name="connsiteX2" fmla="*/ 1570974 w 8143047"/>
              <a:gd name="connsiteY2" fmla="*/ 388216 h 2445616"/>
              <a:gd name="connsiteX3" fmla="*/ 2306781 w 8143047"/>
              <a:gd name="connsiteY3" fmla="*/ 409649 h 2445616"/>
              <a:gd name="connsiteX4" fmla="*/ 3042587 w 8143047"/>
              <a:gd name="connsiteY4" fmla="*/ 695399 h 2445616"/>
              <a:gd name="connsiteX5" fmla="*/ 6292993 w 8143047"/>
              <a:gd name="connsiteY5" fmla="*/ 645392 h 2445616"/>
              <a:gd name="connsiteX6" fmla="*/ 7093092 w 8143047"/>
              <a:gd name="connsiteY6" fmla="*/ 66749 h 2445616"/>
              <a:gd name="connsiteX7" fmla="*/ 8143047 w 8143047"/>
              <a:gd name="connsiteY7" fmla="*/ 52110 h 2445616"/>
              <a:gd name="connsiteX8" fmla="*/ 8143047 w 8143047"/>
              <a:gd name="connsiteY8" fmla="*/ 895697 h 2445616"/>
              <a:gd name="connsiteX9" fmla="*/ 6400149 w 8143047"/>
              <a:gd name="connsiteY9" fmla="*/ 2388466 h 2445616"/>
              <a:gd name="connsiteX10" fmla="*/ 3606943 w 8143047"/>
              <a:gd name="connsiteY10" fmla="*/ 2445616 h 2445616"/>
              <a:gd name="connsiteX11" fmla="*/ 3035442 w 8143047"/>
              <a:gd name="connsiteY11" fmla="*/ 2431329 h 2445616"/>
              <a:gd name="connsiteX12" fmla="*/ 2256774 w 8143047"/>
              <a:gd name="connsiteY12" fmla="*/ 1316903 h 2445616"/>
              <a:gd name="connsiteX13" fmla="*/ 1563830 w 8143047"/>
              <a:gd name="connsiteY13" fmla="*/ 1288329 h 2445616"/>
              <a:gd name="connsiteX14" fmla="*/ 927860 w 8143047"/>
              <a:gd name="connsiteY14" fmla="*/ 895699 h 2445616"/>
              <a:gd name="connsiteX15" fmla="*/ 0 w 8143047"/>
              <a:gd name="connsiteY15" fmla="*/ 895697 h 2445616"/>
              <a:gd name="connsiteX16" fmla="*/ 0 w 8143047"/>
              <a:gd name="connsiteY16" fmla="*/ 52110 h 2445616"/>
              <a:gd name="connsiteX0" fmla="*/ 0 w 8143047"/>
              <a:gd name="connsiteY0" fmla="*/ 0 h 2393506"/>
              <a:gd name="connsiteX1" fmla="*/ 920893 w 8143047"/>
              <a:gd name="connsiteY1" fmla="*/ 350 h 2393506"/>
              <a:gd name="connsiteX2" fmla="*/ 1570974 w 8143047"/>
              <a:gd name="connsiteY2" fmla="*/ 336106 h 2393506"/>
              <a:gd name="connsiteX3" fmla="*/ 2306781 w 8143047"/>
              <a:gd name="connsiteY3" fmla="*/ 357539 h 2393506"/>
              <a:gd name="connsiteX4" fmla="*/ 3042587 w 8143047"/>
              <a:gd name="connsiteY4" fmla="*/ 643289 h 2393506"/>
              <a:gd name="connsiteX5" fmla="*/ 6292993 w 8143047"/>
              <a:gd name="connsiteY5" fmla="*/ 593282 h 2393506"/>
              <a:gd name="connsiteX6" fmla="*/ 7093092 w 8143047"/>
              <a:gd name="connsiteY6" fmla="*/ 14639 h 2393506"/>
              <a:gd name="connsiteX7" fmla="*/ 8143047 w 8143047"/>
              <a:gd name="connsiteY7" fmla="*/ 0 h 2393506"/>
              <a:gd name="connsiteX8" fmla="*/ 8143047 w 8143047"/>
              <a:gd name="connsiteY8" fmla="*/ 843587 h 2393506"/>
              <a:gd name="connsiteX9" fmla="*/ 6400149 w 8143047"/>
              <a:gd name="connsiteY9" fmla="*/ 2336356 h 2393506"/>
              <a:gd name="connsiteX10" fmla="*/ 3606943 w 8143047"/>
              <a:gd name="connsiteY10" fmla="*/ 2393506 h 2393506"/>
              <a:gd name="connsiteX11" fmla="*/ 3035442 w 8143047"/>
              <a:gd name="connsiteY11" fmla="*/ 2379219 h 2393506"/>
              <a:gd name="connsiteX12" fmla="*/ 2256774 w 8143047"/>
              <a:gd name="connsiteY12" fmla="*/ 1264793 h 2393506"/>
              <a:gd name="connsiteX13" fmla="*/ 1563830 w 8143047"/>
              <a:gd name="connsiteY13" fmla="*/ 1236219 h 2393506"/>
              <a:gd name="connsiteX14" fmla="*/ 927860 w 8143047"/>
              <a:gd name="connsiteY14" fmla="*/ 843589 h 2393506"/>
              <a:gd name="connsiteX15" fmla="*/ 0 w 8143047"/>
              <a:gd name="connsiteY15" fmla="*/ 843587 h 2393506"/>
              <a:gd name="connsiteX16" fmla="*/ 0 w 8143047"/>
              <a:gd name="connsiteY16" fmla="*/ 0 h 2393506"/>
              <a:gd name="connsiteX0" fmla="*/ 0 w 8143047"/>
              <a:gd name="connsiteY0" fmla="*/ 0 h 2393506"/>
              <a:gd name="connsiteX1" fmla="*/ 920893 w 8143047"/>
              <a:gd name="connsiteY1" fmla="*/ 350 h 2393506"/>
              <a:gd name="connsiteX2" fmla="*/ 1570974 w 8143047"/>
              <a:gd name="connsiteY2" fmla="*/ 336106 h 2393506"/>
              <a:gd name="connsiteX3" fmla="*/ 2306781 w 8143047"/>
              <a:gd name="connsiteY3" fmla="*/ 357539 h 2393506"/>
              <a:gd name="connsiteX4" fmla="*/ 3042587 w 8143047"/>
              <a:gd name="connsiteY4" fmla="*/ 643289 h 2393506"/>
              <a:gd name="connsiteX5" fmla="*/ 6292993 w 8143047"/>
              <a:gd name="connsiteY5" fmla="*/ 593282 h 2393506"/>
              <a:gd name="connsiteX6" fmla="*/ 7093092 w 8143047"/>
              <a:gd name="connsiteY6" fmla="*/ 14639 h 2393506"/>
              <a:gd name="connsiteX7" fmla="*/ 8143047 w 8143047"/>
              <a:gd name="connsiteY7" fmla="*/ 0 h 2393506"/>
              <a:gd name="connsiteX8" fmla="*/ 8143047 w 8143047"/>
              <a:gd name="connsiteY8" fmla="*/ 843587 h 2393506"/>
              <a:gd name="connsiteX9" fmla="*/ 6400149 w 8143047"/>
              <a:gd name="connsiteY9" fmla="*/ 2336356 h 2393506"/>
              <a:gd name="connsiteX10" fmla="*/ 3606943 w 8143047"/>
              <a:gd name="connsiteY10" fmla="*/ 2393506 h 2393506"/>
              <a:gd name="connsiteX11" fmla="*/ 3035442 w 8143047"/>
              <a:gd name="connsiteY11" fmla="*/ 2379219 h 2393506"/>
              <a:gd name="connsiteX12" fmla="*/ 2256774 w 8143047"/>
              <a:gd name="connsiteY12" fmla="*/ 1264793 h 2393506"/>
              <a:gd name="connsiteX13" fmla="*/ 1563830 w 8143047"/>
              <a:gd name="connsiteY13" fmla="*/ 1236219 h 2393506"/>
              <a:gd name="connsiteX14" fmla="*/ 927860 w 8143047"/>
              <a:gd name="connsiteY14" fmla="*/ 843589 h 2393506"/>
              <a:gd name="connsiteX15" fmla="*/ 0 w 8143047"/>
              <a:gd name="connsiteY15" fmla="*/ 843587 h 2393506"/>
              <a:gd name="connsiteX16" fmla="*/ 0 w 8143047"/>
              <a:gd name="connsiteY16" fmla="*/ 0 h 2393506"/>
              <a:gd name="connsiteX0" fmla="*/ 0 w 8143047"/>
              <a:gd name="connsiteY0" fmla="*/ 0 h 2393506"/>
              <a:gd name="connsiteX1" fmla="*/ 920893 w 8143047"/>
              <a:gd name="connsiteY1" fmla="*/ 350 h 2393506"/>
              <a:gd name="connsiteX2" fmla="*/ 1570974 w 8143047"/>
              <a:gd name="connsiteY2" fmla="*/ 336106 h 2393506"/>
              <a:gd name="connsiteX3" fmla="*/ 2306781 w 8143047"/>
              <a:gd name="connsiteY3" fmla="*/ 357539 h 2393506"/>
              <a:gd name="connsiteX4" fmla="*/ 3042587 w 8143047"/>
              <a:gd name="connsiteY4" fmla="*/ 643289 h 2393506"/>
              <a:gd name="connsiteX5" fmla="*/ 6292993 w 8143047"/>
              <a:gd name="connsiteY5" fmla="*/ 593282 h 2393506"/>
              <a:gd name="connsiteX6" fmla="*/ 7093092 w 8143047"/>
              <a:gd name="connsiteY6" fmla="*/ 14639 h 2393506"/>
              <a:gd name="connsiteX7" fmla="*/ 8143047 w 8143047"/>
              <a:gd name="connsiteY7" fmla="*/ 0 h 2393506"/>
              <a:gd name="connsiteX8" fmla="*/ 8143047 w 8143047"/>
              <a:gd name="connsiteY8" fmla="*/ 843587 h 2393506"/>
              <a:gd name="connsiteX9" fmla="*/ 6400149 w 8143047"/>
              <a:gd name="connsiteY9" fmla="*/ 2336356 h 2393506"/>
              <a:gd name="connsiteX10" fmla="*/ 3606943 w 8143047"/>
              <a:gd name="connsiteY10" fmla="*/ 2393506 h 2393506"/>
              <a:gd name="connsiteX11" fmla="*/ 3035442 w 8143047"/>
              <a:gd name="connsiteY11" fmla="*/ 2379219 h 2393506"/>
              <a:gd name="connsiteX12" fmla="*/ 2256774 w 8143047"/>
              <a:gd name="connsiteY12" fmla="*/ 1264793 h 2393506"/>
              <a:gd name="connsiteX13" fmla="*/ 1563830 w 8143047"/>
              <a:gd name="connsiteY13" fmla="*/ 1236219 h 2393506"/>
              <a:gd name="connsiteX14" fmla="*/ 927860 w 8143047"/>
              <a:gd name="connsiteY14" fmla="*/ 843589 h 2393506"/>
              <a:gd name="connsiteX15" fmla="*/ 0 w 8143047"/>
              <a:gd name="connsiteY15" fmla="*/ 843587 h 2393506"/>
              <a:gd name="connsiteX16" fmla="*/ 0 w 8143047"/>
              <a:gd name="connsiteY16" fmla="*/ 0 h 2393506"/>
              <a:gd name="connsiteX0" fmla="*/ 0 w 8143047"/>
              <a:gd name="connsiteY0" fmla="*/ 0 h 2393506"/>
              <a:gd name="connsiteX1" fmla="*/ 920893 w 8143047"/>
              <a:gd name="connsiteY1" fmla="*/ 350 h 2393506"/>
              <a:gd name="connsiteX2" fmla="*/ 1570974 w 8143047"/>
              <a:gd name="connsiteY2" fmla="*/ 336106 h 2393506"/>
              <a:gd name="connsiteX3" fmla="*/ 2306781 w 8143047"/>
              <a:gd name="connsiteY3" fmla="*/ 357539 h 2393506"/>
              <a:gd name="connsiteX4" fmla="*/ 3042587 w 8143047"/>
              <a:gd name="connsiteY4" fmla="*/ 643289 h 2393506"/>
              <a:gd name="connsiteX5" fmla="*/ 6292993 w 8143047"/>
              <a:gd name="connsiteY5" fmla="*/ 593282 h 2393506"/>
              <a:gd name="connsiteX6" fmla="*/ 7093092 w 8143047"/>
              <a:gd name="connsiteY6" fmla="*/ 14639 h 2393506"/>
              <a:gd name="connsiteX7" fmla="*/ 8143047 w 8143047"/>
              <a:gd name="connsiteY7" fmla="*/ 0 h 2393506"/>
              <a:gd name="connsiteX8" fmla="*/ 8143047 w 8143047"/>
              <a:gd name="connsiteY8" fmla="*/ 843587 h 2393506"/>
              <a:gd name="connsiteX9" fmla="*/ 7171674 w 8143047"/>
              <a:gd name="connsiteY9" fmla="*/ 950470 h 2393506"/>
              <a:gd name="connsiteX10" fmla="*/ 6400149 w 8143047"/>
              <a:gd name="connsiteY10" fmla="*/ 2336356 h 2393506"/>
              <a:gd name="connsiteX11" fmla="*/ 3606943 w 8143047"/>
              <a:gd name="connsiteY11" fmla="*/ 2393506 h 2393506"/>
              <a:gd name="connsiteX12" fmla="*/ 3035442 w 8143047"/>
              <a:gd name="connsiteY12" fmla="*/ 2379219 h 2393506"/>
              <a:gd name="connsiteX13" fmla="*/ 2256774 w 8143047"/>
              <a:gd name="connsiteY13" fmla="*/ 1264793 h 2393506"/>
              <a:gd name="connsiteX14" fmla="*/ 1563830 w 8143047"/>
              <a:gd name="connsiteY14" fmla="*/ 1236219 h 2393506"/>
              <a:gd name="connsiteX15" fmla="*/ 927860 w 8143047"/>
              <a:gd name="connsiteY15" fmla="*/ 843589 h 2393506"/>
              <a:gd name="connsiteX16" fmla="*/ 0 w 8143047"/>
              <a:gd name="connsiteY16" fmla="*/ 843587 h 2393506"/>
              <a:gd name="connsiteX17" fmla="*/ 0 w 8143047"/>
              <a:gd name="connsiteY17" fmla="*/ 0 h 2393506"/>
              <a:gd name="connsiteX0" fmla="*/ 0 w 8143047"/>
              <a:gd name="connsiteY0" fmla="*/ 0 h 2393506"/>
              <a:gd name="connsiteX1" fmla="*/ 920893 w 8143047"/>
              <a:gd name="connsiteY1" fmla="*/ 350 h 2393506"/>
              <a:gd name="connsiteX2" fmla="*/ 1570974 w 8143047"/>
              <a:gd name="connsiteY2" fmla="*/ 336106 h 2393506"/>
              <a:gd name="connsiteX3" fmla="*/ 2306781 w 8143047"/>
              <a:gd name="connsiteY3" fmla="*/ 357539 h 2393506"/>
              <a:gd name="connsiteX4" fmla="*/ 3042587 w 8143047"/>
              <a:gd name="connsiteY4" fmla="*/ 643289 h 2393506"/>
              <a:gd name="connsiteX5" fmla="*/ 6292993 w 8143047"/>
              <a:gd name="connsiteY5" fmla="*/ 593282 h 2393506"/>
              <a:gd name="connsiteX6" fmla="*/ 7093092 w 8143047"/>
              <a:gd name="connsiteY6" fmla="*/ 14639 h 2393506"/>
              <a:gd name="connsiteX7" fmla="*/ 8143047 w 8143047"/>
              <a:gd name="connsiteY7" fmla="*/ 0 h 2393506"/>
              <a:gd name="connsiteX8" fmla="*/ 8143047 w 8143047"/>
              <a:gd name="connsiteY8" fmla="*/ 843587 h 2393506"/>
              <a:gd name="connsiteX9" fmla="*/ 7171674 w 8143047"/>
              <a:gd name="connsiteY9" fmla="*/ 950470 h 2393506"/>
              <a:gd name="connsiteX10" fmla="*/ 6400149 w 8143047"/>
              <a:gd name="connsiteY10" fmla="*/ 2336356 h 2393506"/>
              <a:gd name="connsiteX11" fmla="*/ 3606943 w 8143047"/>
              <a:gd name="connsiteY11" fmla="*/ 2393506 h 2393506"/>
              <a:gd name="connsiteX12" fmla="*/ 3035442 w 8143047"/>
              <a:gd name="connsiteY12" fmla="*/ 2379219 h 2393506"/>
              <a:gd name="connsiteX13" fmla="*/ 2256774 w 8143047"/>
              <a:gd name="connsiteY13" fmla="*/ 1264793 h 2393506"/>
              <a:gd name="connsiteX14" fmla="*/ 1563830 w 8143047"/>
              <a:gd name="connsiteY14" fmla="*/ 1236219 h 2393506"/>
              <a:gd name="connsiteX15" fmla="*/ 927860 w 8143047"/>
              <a:gd name="connsiteY15" fmla="*/ 843589 h 2393506"/>
              <a:gd name="connsiteX16" fmla="*/ 0 w 8143047"/>
              <a:gd name="connsiteY16" fmla="*/ 843587 h 2393506"/>
              <a:gd name="connsiteX17" fmla="*/ 0 w 8143047"/>
              <a:gd name="connsiteY17" fmla="*/ 0 h 2393506"/>
              <a:gd name="connsiteX0" fmla="*/ 0 w 8143047"/>
              <a:gd name="connsiteY0" fmla="*/ 0 h 2393506"/>
              <a:gd name="connsiteX1" fmla="*/ 920893 w 8143047"/>
              <a:gd name="connsiteY1" fmla="*/ 350 h 2393506"/>
              <a:gd name="connsiteX2" fmla="*/ 1570974 w 8143047"/>
              <a:gd name="connsiteY2" fmla="*/ 336106 h 2393506"/>
              <a:gd name="connsiteX3" fmla="*/ 2306781 w 8143047"/>
              <a:gd name="connsiteY3" fmla="*/ 357539 h 2393506"/>
              <a:gd name="connsiteX4" fmla="*/ 3042587 w 8143047"/>
              <a:gd name="connsiteY4" fmla="*/ 643289 h 2393506"/>
              <a:gd name="connsiteX5" fmla="*/ 6292993 w 8143047"/>
              <a:gd name="connsiteY5" fmla="*/ 593282 h 2393506"/>
              <a:gd name="connsiteX6" fmla="*/ 7093092 w 8143047"/>
              <a:gd name="connsiteY6" fmla="*/ 14639 h 2393506"/>
              <a:gd name="connsiteX7" fmla="*/ 8143047 w 8143047"/>
              <a:gd name="connsiteY7" fmla="*/ 0 h 2393506"/>
              <a:gd name="connsiteX8" fmla="*/ 8143047 w 8143047"/>
              <a:gd name="connsiteY8" fmla="*/ 843587 h 2393506"/>
              <a:gd name="connsiteX9" fmla="*/ 7164531 w 8143047"/>
              <a:gd name="connsiteY9" fmla="*/ 893320 h 2393506"/>
              <a:gd name="connsiteX10" fmla="*/ 6400149 w 8143047"/>
              <a:gd name="connsiteY10" fmla="*/ 2336356 h 2393506"/>
              <a:gd name="connsiteX11" fmla="*/ 3606943 w 8143047"/>
              <a:gd name="connsiteY11" fmla="*/ 2393506 h 2393506"/>
              <a:gd name="connsiteX12" fmla="*/ 3035442 w 8143047"/>
              <a:gd name="connsiteY12" fmla="*/ 2379219 h 2393506"/>
              <a:gd name="connsiteX13" fmla="*/ 2256774 w 8143047"/>
              <a:gd name="connsiteY13" fmla="*/ 1264793 h 2393506"/>
              <a:gd name="connsiteX14" fmla="*/ 1563830 w 8143047"/>
              <a:gd name="connsiteY14" fmla="*/ 1236219 h 2393506"/>
              <a:gd name="connsiteX15" fmla="*/ 927860 w 8143047"/>
              <a:gd name="connsiteY15" fmla="*/ 843589 h 2393506"/>
              <a:gd name="connsiteX16" fmla="*/ 0 w 8143047"/>
              <a:gd name="connsiteY16" fmla="*/ 843587 h 2393506"/>
              <a:gd name="connsiteX17" fmla="*/ 0 w 8143047"/>
              <a:gd name="connsiteY17" fmla="*/ 0 h 2393506"/>
              <a:gd name="connsiteX0" fmla="*/ 0 w 8150191"/>
              <a:gd name="connsiteY0" fmla="*/ 0 h 2393506"/>
              <a:gd name="connsiteX1" fmla="*/ 920893 w 8150191"/>
              <a:gd name="connsiteY1" fmla="*/ 350 h 2393506"/>
              <a:gd name="connsiteX2" fmla="*/ 1570974 w 8150191"/>
              <a:gd name="connsiteY2" fmla="*/ 336106 h 2393506"/>
              <a:gd name="connsiteX3" fmla="*/ 2306781 w 8150191"/>
              <a:gd name="connsiteY3" fmla="*/ 357539 h 2393506"/>
              <a:gd name="connsiteX4" fmla="*/ 3042587 w 8150191"/>
              <a:gd name="connsiteY4" fmla="*/ 643289 h 2393506"/>
              <a:gd name="connsiteX5" fmla="*/ 6292993 w 8150191"/>
              <a:gd name="connsiteY5" fmla="*/ 593282 h 2393506"/>
              <a:gd name="connsiteX6" fmla="*/ 7093092 w 8150191"/>
              <a:gd name="connsiteY6" fmla="*/ 14639 h 2393506"/>
              <a:gd name="connsiteX7" fmla="*/ 8143047 w 8150191"/>
              <a:gd name="connsiteY7" fmla="*/ 0 h 2393506"/>
              <a:gd name="connsiteX8" fmla="*/ 8150191 w 8150191"/>
              <a:gd name="connsiteY8" fmla="*/ 879305 h 2393506"/>
              <a:gd name="connsiteX9" fmla="*/ 7164531 w 8150191"/>
              <a:gd name="connsiteY9" fmla="*/ 893320 h 2393506"/>
              <a:gd name="connsiteX10" fmla="*/ 6400149 w 8150191"/>
              <a:gd name="connsiteY10" fmla="*/ 2336356 h 2393506"/>
              <a:gd name="connsiteX11" fmla="*/ 3606943 w 8150191"/>
              <a:gd name="connsiteY11" fmla="*/ 2393506 h 2393506"/>
              <a:gd name="connsiteX12" fmla="*/ 3035442 w 8150191"/>
              <a:gd name="connsiteY12" fmla="*/ 2379219 h 2393506"/>
              <a:gd name="connsiteX13" fmla="*/ 2256774 w 8150191"/>
              <a:gd name="connsiteY13" fmla="*/ 1264793 h 2393506"/>
              <a:gd name="connsiteX14" fmla="*/ 1563830 w 8150191"/>
              <a:gd name="connsiteY14" fmla="*/ 1236219 h 2393506"/>
              <a:gd name="connsiteX15" fmla="*/ 927860 w 8150191"/>
              <a:gd name="connsiteY15" fmla="*/ 843589 h 2393506"/>
              <a:gd name="connsiteX16" fmla="*/ 0 w 8150191"/>
              <a:gd name="connsiteY16" fmla="*/ 843587 h 2393506"/>
              <a:gd name="connsiteX17" fmla="*/ 0 w 8150191"/>
              <a:gd name="connsiteY17" fmla="*/ 0 h 2393506"/>
              <a:gd name="connsiteX0" fmla="*/ 0 w 8150191"/>
              <a:gd name="connsiteY0" fmla="*/ 0 h 2393506"/>
              <a:gd name="connsiteX1" fmla="*/ 920893 w 8150191"/>
              <a:gd name="connsiteY1" fmla="*/ 350 h 2393506"/>
              <a:gd name="connsiteX2" fmla="*/ 1570974 w 8150191"/>
              <a:gd name="connsiteY2" fmla="*/ 336106 h 2393506"/>
              <a:gd name="connsiteX3" fmla="*/ 2306781 w 8150191"/>
              <a:gd name="connsiteY3" fmla="*/ 357539 h 2393506"/>
              <a:gd name="connsiteX4" fmla="*/ 3042587 w 8150191"/>
              <a:gd name="connsiteY4" fmla="*/ 643289 h 2393506"/>
              <a:gd name="connsiteX5" fmla="*/ 6292993 w 8150191"/>
              <a:gd name="connsiteY5" fmla="*/ 593282 h 2393506"/>
              <a:gd name="connsiteX6" fmla="*/ 7093092 w 8150191"/>
              <a:gd name="connsiteY6" fmla="*/ 14639 h 2393506"/>
              <a:gd name="connsiteX7" fmla="*/ 8143047 w 8150191"/>
              <a:gd name="connsiteY7" fmla="*/ 0 h 2393506"/>
              <a:gd name="connsiteX8" fmla="*/ 8150191 w 8150191"/>
              <a:gd name="connsiteY8" fmla="*/ 879305 h 2393506"/>
              <a:gd name="connsiteX9" fmla="*/ 7164531 w 8150191"/>
              <a:gd name="connsiteY9" fmla="*/ 893320 h 2393506"/>
              <a:gd name="connsiteX10" fmla="*/ 6400149 w 8150191"/>
              <a:gd name="connsiteY10" fmla="*/ 2336356 h 2393506"/>
              <a:gd name="connsiteX11" fmla="*/ 3606943 w 8150191"/>
              <a:gd name="connsiteY11" fmla="*/ 2393506 h 2393506"/>
              <a:gd name="connsiteX12" fmla="*/ 3035442 w 8150191"/>
              <a:gd name="connsiteY12" fmla="*/ 2379219 h 2393506"/>
              <a:gd name="connsiteX13" fmla="*/ 2256774 w 8150191"/>
              <a:gd name="connsiteY13" fmla="*/ 1264793 h 2393506"/>
              <a:gd name="connsiteX14" fmla="*/ 1563830 w 8150191"/>
              <a:gd name="connsiteY14" fmla="*/ 1236219 h 2393506"/>
              <a:gd name="connsiteX15" fmla="*/ 927860 w 8150191"/>
              <a:gd name="connsiteY15" fmla="*/ 843589 h 2393506"/>
              <a:gd name="connsiteX16" fmla="*/ 0 w 8150191"/>
              <a:gd name="connsiteY16" fmla="*/ 843587 h 2393506"/>
              <a:gd name="connsiteX17" fmla="*/ 0 w 8150191"/>
              <a:gd name="connsiteY17" fmla="*/ 0 h 2393506"/>
              <a:gd name="connsiteX0" fmla="*/ 0 w 8150191"/>
              <a:gd name="connsiteY0" fmla="*/ 0 h 2393506"/>
              <a:gd name="connsiteX1" fmla="*/ 920893 w 8150191"/>
              <a:gd name="connsiteY1" fmla="*/ 350 h 2393506"/>
              <a:gd name="connsiteX2" fmla="*/ 1570974 w 8150191"/>
              <a:gd name="connsiteY2" fmla="*/ 336106 h 2393506"/>
              <a:gd name="connsiteX3" fmla="*/ 2306781 w 8150191"/>
              <a:gd name="connsiteY3" fmla="*/ 357539 h 2393506"/>
              <a:gd name="connsiteX4" fmla="*/ 3042587 w 8150191"/>
              <a:gd name="connsiteY4" fmla="*/ 643289 h 2393506"/>
              <a:gd name="connsiteX5" fmla="*/ 6292993 w 8150191"/>
              <a:gd name="connsiteY5" fmla="*/ 593282 h 2393506"/>
              <a:gd name="connsiteX6" fmla="*/ 7093092 w 8150191"/>
              <a:gd name="connsiteY6" fmla="*/ 14639 h 2393506"/>
              <a:gd name="connsiteX7" fmla="*/ 8143047 w 8150191"/>
              <a:gd name="connsiteY7" fmla="*/ 0 h 2393506"/>
              <a:gd name="connsiteX8" fmla="*/ 8150191 w 8150191"/>
              <a:gd name="connsiteY8" fmla="*/ 879305 h 2393506"/>
              <a:gd name="connsiteX9" fmla="*/ 7164531 w 8150191"/>
              <a:gd name="connsiteY9" fmla="*/ 893320 h 2393506"/>
              <a:gd name="connsiteX10" fmla="*/ 6400149 w 8150191"/>
              <a:gd name="connsiteY10" fmla="*/ 2336356 h 2393506"/>
              <a:gd name="connsiteX11" fmla="*/ 3606943 w 8150191"/>
              <a:gd name="connsiteY11" fmla="*/ 2393506 h 2393506"/>
              <a:gd name="connsiteX12" fmla="*/ 3035442 w 8150191"/>
              <a:gd name="connsiteY12" fmla="*/ 2379219 h 2393506"/>
              <a:gd name="connsiteX13" fmla="*/ 2256774 w 8150191"/>
              <a:gd name="connsiteY13" fmla="*/ 1264793 h 2393506"/>
              <a:gd name="connsiteX14" fmla="*/ 1563830 w 8150191"/>
              <a:gd name="connsiteY14" fmla="*/ 1236219 h 2393506"/>
              <a:gd name="connsiteX15" fmla="*/ 927860 w 8150191"/>
              <a:gd name="connsiteY15" fmla="*/ 843589 h 2393506"/>
              <a:gd name="connsiteX16" fmla="*/ 0 w 8150191"/>
              <a:gd name="connsiteY16" fmla="*/ 843587 h 2393506"/>
              <a:gd name="connsiteX17" fmla="*/ 0 w 8150191"/>
              <a:gd name="connsiteY17" fmla="*/ 0 h 2393506"/>
              <a:gd name="connsiteX0" fmla="*/ 0 w 8150191"/>
              <a:gd name="connsiteY0" fmla="*/ 0 h 2393506"/>
              <a:gd name="connsiteX1" fmla="*/ 920893 w 8150191"/>
              <a:gd name="connsiteY1" fmla="*/ 350 h 2393506"/>
              <a:gd name="connsiteX2" fmla="*/ 1570974 w 8150191"/>
              <a:gd name="connsiteY2" fmla="*/ 336106 h 2393506"/>
              <a:gd name="connsiteX3" fmla="*/ 2306781 w 8150191"/>
              <a:gd name="connsiteY3" fmla="*/ 357539 h 2393506"/>
              <a:gd name="connsiteX4" fmla="*/ 3042587 w 8150191"/>
              <a:gd name="connsiteY4" fmla="*/ 643289 h 2393506"/>
              <a:gd name="connsiteX5" fmla="*/ 6292993 w 8150191"/>
              <a:gd name="connsiteY5" fmla="*/ 593282 h 2393506"/>
              <a:gd name="connsiteX6" fmla="*/ 7093092 w 8150191"/>
              <a:gd name="connsiteY6" fmla="*/ 14639 h 2393506"/>
              <a:gd name="connsiteX7" fmla="*/ 8143047 w 8150191"/>
              <a:gd name="connsiteY7" fmla="*/ 0 h 2393506"/>
              <a:gd name="connsiteX8" fmla="*/ 8150191 w 8150191"/>
              <a:gd name="connsiteY8" fmla="*/ 879305 h 2393506"/>
              <a:gd name="connsiteX9" fmla="*/ 7164531 w 8150191"/>
              <a:gd name="connsiteY9" fmla="*/ 893320 h 2393506"/>
              <a:gd name="connsiteX10" fmla="*/ 6400149 w 8150191"/>
              <a:gd name="connsiteY10" fmla="*/ 2336356 h 2393506"/>
              <a:gd name="connsiteX11" fmla="*/ 3606943 w 8150191"/>
              <a:gd name="connsiteY11" fmla="*/ 2393506 h 2393506"/>
              <a:gd name="connsiteX12" fmla="*/ 3035442 w 8150191"/>
              <a:gd name="connsiteY12" fmla="*/ 2379219 h 2393506"/>
              <a:gd name="connsiteX13" fmla="*/ 2256774 w 8150191"/>
              <a:gd name="connsiteY13" fmla="*/ 1264793 h 2393506"/>
              <a:gd name="connsiteX14" fmla="*/ 1563830 w 8150191"/>
              <a:gd name="connsiteY14" fmla="*/ 1236219 h 2393506"/>
              <a:gd name="connsiteX15" fmla="*/ 927860 w 8150191"/>
              <a:gd name="connsiteY15" fmla="*/ 843589 h 2393506"/>
              <a:gd name="connsiteX16" fmla="*/ 0 w 8150191"/>
              <a:gd name="connsiteY16" fmla="*/ 843587 h 2393506"/>
              <a:gd name="connsiteX17" fmla="*/ 0 w 8150191"/>
              <a:gd name="connsiteY17" fmla="*/ 0 h 2393506"/>
              <a:gd name="connsiteX0" fmla="*/ 0 w 8150191"/>
              <a:gd name="connsiteY0" fmla="*/ 0 h 2393506"/>
              <a:gd name="connsiteX1" fmla="*/ 920893 w 8150191"/>
              <a:gd name="connsiteY1" fmla="*/ 350 h 2393506"/>
              <a:gd name="connsiteX2" fmla="*/ 1570974 w 8150191"/>
              <a:gd name="connsiteY2" fmla="*/ 336106 h 2393506"/>
              <a:gd name="connsiteX3" fmla="*/ 2306781 w 8150191"/>
              <a:gd name="connsiteY3" fmla="*/ 357539 h 2393506"/>
              <a:gd name="connsiteX4" fmla="*/ 3042587 w 8150191"/>
              <a:gd name="connsiteY4" fmla="*/ 643289 h 2393506"/>
              <a:gd name="connsiteX5" fmla="*/ 6292993 w 8150191"/>
              <a:gd name="connsiteY5" fmla="*/ 593282 h 2393506"/>
              <a:gd name="connsiteX6" fmla="*/ 7093092 w 8150191"/>
              <a:gd name="connsiteY6" fmla="*/ 14639 h 2393506"/>
              <a:gd name="connsiteX7" fmla="*/ 8143047 w 8150191"/>
              <a:gd name="connsiteY7" fmla="*/ 0 h 2393506"/>
              <a:gd name="connsiteX8" fmla="*/ 8150191 w 8150191"/>
              <a:gd name="connsiteY8" fmla="*/ 879305 h 2393506"/>
              <a:gd name="connsiteX9" fmla="*/ 7164531 w 8150191"/>
              <a:gd name="connsiteY9" fmla="*/ 893320 h 2393506"/>
              <a:gd name="connsiteX10" fmla="*/ 6400149 w 8150191"/>
              <a:gd name="connsiteY10" fmla="*/ 2336356 h 2393506"/>
              <a:gd name="connsiteX11" fmla="*/ 3606943 w 8150191"/>
              <a:gd name="connsiteY11" fmla="*/ 2393506 h 2393506"/>
              <a:gd name="connsiteX12" fmla="*/ 3035442 w 8150191"/>
              <a:gd name="connsiteY12" fmla="*/ 2379219 h 2393506"/>
              <a:gd name="connsiteX13" fmla="*/ 2256774 w 8150191"/>
              <a:gd name="connsiteY13" fmla="*/ 1264793 h 2393506"/>
              <a:gd name="connsiteX14" fmla="*/ 1563830 w 8150191"/>
              <a:gd name="connsiteY14" fmla="*/ 1236219 h 2393506"/>
              <a:gd name="connsiteX15" fmla="*/ 927860 w 8150191"/>
              <a:gd name="connsiteY15" fmla="*/ 843589 h 2393506"/>
              <a:gd name="connsiteX16" fmla="*/ 0 w 8150191"/>
              <a:gd name="connsiteY16" fmla="*/ 843587 h 2393506"/>
              <a:gd name="connsiteX17" fmla="*/ 0 w 8150191"/>
              <a:gd name="connsiteY17" fmla="*/ 0 h 2393506"/>
              <a:gd name="connsiteX0" fmla="*/ 0 w 8150191"/>
              <a:gd name="connsiteY0" fmla="*/ 0 h 2406354"/>
              <a:gd name="connsiteX1" fmla="*/ 920893 w 8150191"/>
              <a:gd name="connsiteY1" fmla="*/ 350 h 2406354"/>
              <a:gd name="connsiteX2" fmla="*/ 1570974 w 8150191"/>
              <a:gd name="connsiteY2" fmla="*/ 336106 h 2406354"/>
              <a:gd name="connsiteX3" fmla="*/ 2306781 w 8150191"/>
              <a:gd name="connsiteY3" fmla="*/ 357539 h 2406354"/>
              <a:gd name="connsiteX4" fmla="*/ 3042587 w 8150191"/>
              <a:gd name="connsiteY4" fmla="*/ 643289 h 2406354"/>
              <a:gd name="connsiteX5" fmla="*/ 6292993 w 8150191"/>
              <a:gd name="connsiteY5" fmla="*/ 593282 h 2406354"/>
              <a:gd name="connsiteX6" fmla="*/ 7093092 w 8150191"/>
              <a:gd name="connsiteY6" fmla="*/ 14639 h 2406354"/>
              <a:gd name="connsiteX7" fmla="*/ 8143047 w 8150191"/>
              <a:gd name="connsiteY7" fmla="*/ 0 h 2406354"/>
              <a:gd name="connsiteX8" fmla="*/ 8150191 w 8150191"/>
              <a:gd name="connsiteY8" fmla="*/ 879305 h 2406354"/>
              <a:gd name="connsiteX9" fmla="*/ 7164531 w 8150191"/>
              <a:gd name="connsiteY9" fmla="*/ 893320 h 2406354"/>
              <a:gd name="connsiteX10" fmla="*/ 6385861 w 8150191"/>
              <a:gd name="connsiteY10" fmla="*/ 2379218 h 2406354"/>
              <a:gd name="connsiteX11" fmla="*/ 3606943 w 8150191"/>
              <a:gd name="connsiteY11" fmla="*/ 2393506 h 2406354"/>
              <a:gd name="connsiteX12" fmla="*/ 3035442 w 8150191"/>
              <a:gd name="connsiteY12" fmla="*/ 2379219 h 2406354"/>
              <a:gd name="connsiteX13" fmla="*/ 2256774 w 8150191"/>
              <a:gd name="connsiteY13" fmla="*/ 1264793 h 2406354"/>
              <a:gd name="connsiteX14" fmla="*/ 1563830 w 8150191"/>
              <a:gd name="connsiteY14" fmla="*/ 1236219 h 2406354"/>
              <a:gd name="connsiteX15" fmla="*/ 927860 w 8150191"/>
              <a:gd name="connsiteY15" fmla="*/ 843589 h 2406354"/>
              <a:gd name="connsiteX16" fmla="*/ 0 w 8150191"/>
              <a:gd name="connsiteY16" fmla="*/ 843587 h 2406354"/>
              <a:gd name="connsiteX17" fmla="*/ 0 w 8150191"/>
              <a:gd name="connsiteY17" fmla="*/ 0 h 2406354"/>
              <a:gd name="connsiteX0" fmla="*/ 0 w 8150191"/>
              <a:gd name="connsiteY0" fmla="*/ 0 h 2394991"/>
              <a:gd name="connsiteX1" fmla="*/ 920893 w 8150191"/>
              <a:gd name="connsiteY1" fmla="*/ 350 h 2394991"/>
              <a:gd name="connsiteX2" fmla="*/ 1570974 w 8150191"/>
              <a:gd name="connsiteY2" fmla="*/ 336106 h 2394991"/>
              <a:gd name="connsiteX3" fmla="*/ 2306781 w 8150191"/>
              <a:gd name="connsiteY3" fmla="*/ 357539 h 2394991"/>
              <a:gd name="connsiteX4" fmla="*/ 3042587 w 8150191"/>
              <a:gd name="connsiteY4" fmla="*/ 643289 h 2394991"/>
              <a:gd name="connsiteX5" fmla="*/ 6292993 w 8150191"/>
              <a:gd name="connsiteY5" fmla="*/ 593282 h 2394991"/>
              <a:gd name="connsiteX6" fmla="*/ 7093092 w 8150191"/>
              <a:gd name="connsiteY6" fmla="*/ 14639 h 2394991"/>
              <a:gd name="connsiteX7" fmla="*/ 8143047 w 8150191"/>
              <a:gd name="connsiteY7" fmla="*/ 0 h 2394991"/>
              <a:gd name="connsiteX8" fmla="*/ 8150191 w 8150191"/>
              <a:gd name="connsiteY8" fmla="*/ 879305 h 2394991"/>
              <a:gd name="connsiteX9" fmla="*/ 7164531 w 8150191"/>
              <a:gd name="connsiteY9" fmla="*/ 893320 h 2394991"/>
              <a:gd name="connsiteX10" fmla="*/ 6385861 w 8150191"/>
              <a:gd name="connsiteY10" fmla="*/ 2379218 h 2394991"/>
              <a:gd name="connsiteX11" fmla="*/ 3606943 w 8150191"/>
              <a:gd name="connsiteY11" fmla="*/ 2393506 h 2394991"/>
              <a:gd name="connsiteX12" fmla="*/ 3035442 w 8150191"/>
              <a:gd name="connsiteY12" fmla="*/ 2379219 h 2394991"/>
              <a:gd name="connsiteX13" fmla="*/ 2256774 w 8150191"/>
              <a:gd name="connsiteY13" fmla="*/ 1264793 h 2394991"/>
              <a:gd name="connsiteX14" fmla="*/ 1563830 w 8150191"/>
              <a:gd name="connsiteY14" fmla="*/ 1236219 h 2394991"/>
              <a:gd name="connsiteX15" fmla="*/ 927860 w 8150191"/>
              <a:gd name="connsiteY15" fmla="*/ 843589 h 2394991"/>
              <a:gd name="connsiteX16" fmla="*/ 0 w 8150191"/>
              <a:gd name="connsiteY16" fmla="*/ 843587 h 2394991"/>
              <a:gd name="connsiteX17" fmla="*/ 0 w 8150191"/>
              <a:gd name="connsiteY17" fmla="*/ 0 h 2394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150191" h="2394991">
                <a:moveTo>
                  <a:pt x="0" y="0"/>
                </a:moveTo>
                <a:lnTo>
                  <a:pt x="920893" y="350"/>
                </a:lnTo>
                <a:cubicBezTo>
                  <a:pt x="1562532" y="349261"/>
                  <a:pt x="781619" y="-92461"/>
                  <a:pt x="1570974" y="336106"/>
                </a:cubicBezTo>
                <a:cubicBezTo>
                  <a:pt x="2300827" y="370635"/>
                  <a:pt x="1247155" y="320688"/>
                  <a:pt x="2306781" y="357539"/>
                </a:cubicBezTo>
                <a:cubicBezTo>
                  <a:pt x="3068781" y="661148"/>
                  <a:pt x="2227039" y="331404"/>
                  <a:pt x="3042587" y="643289"/>
                </a:cubicBezTo>
                <a:cubicBezTo>
                  <a:pt x="3647424" y="623048"/>
                  <a:pt x="5421485" y="636203"/>
                  <a:pt x="6292993" y="593282"/>
                </a:cubicBezTo>
                <a:cubicBezTo>
                  <a:pt x="7102619" y="21782"/>
                  <a:pt x="6284687" y="585007"/>
                  <a:pt x="7093092" y="14639"/>
                </a:cubicBezTo>
                <a:cubicBezTo>
                  <a:pt x="8144384" y="-12803"/>
                  <a:pt x="7088183" y="23767"/>
                  <a:pt x="8143047" y="0"/>
                </a:cubicBezTo>
                <a:cubicBezTo>
                  <a:pt x="8145428" y="293102"/>
                  <a:pt x="8147810" y="586203"/>
                  <a:pt x="8150191" y="879305"/>
                </a:cubicBezTo>
                <a:cubicBezTo>
                  <a:pt x="7179861" y="891270"/>
                  <a:pt x="8147957" y="887413"/>
                  <a:pt x="7164531" y="893320"/>
                </a:cubicBezTo>
                <a:cubicBezTo>
                  <a:pt x="6431135" y="2327977"/>
                  <a:pt x="7150242" y="949278"/>
                  <a:pt x="6385861" y="2379218"/>
                </a:cubicBezTo>
                <a:cubicBezTo>
                  <a:pt x="5001194" y="2401794"/>
                  <a:pt x="4208208" y="2393506"/>
                  <a:pt x="3606943" y="2393506"/>
                </a:cubicBezTo>
                <a:cubicBezTo>
                  <a:pt x="2862832" y="2377983"/>
                  <a:pt x="3439063" y="2387554"/>
                  <a:pt x="3035442" y="2379219"/>
                </a:cubicBezTo>
                <a:cubicBezTo>
                  <a:pt x="2502071" y="1606457"/>
                  <a:pt x="2511567" y="1635077"/>
                  <a:pt x="2256774" y="1264793"/>
                </a:cubicBezTo>
                <a:cubicBezTo>
                  <a:pt x="1966262" y="1273127"/>
                  <a:pt x="1782935" y="1306420"/>
                  <a:pt x="1563830" y="1236219"/>
                </a:cubicBezTo>
                <a:lnTo>
                  <a:pt x="927860" y="843589"/>
                </a:lnTo>
                <a:lnTo>
                  <a:pt x="0" y="843587"/>
                </a:lnTo>
                <a:lnTo>
                  <a:pt x="0" y="0"/>
                </a:lnTo>
                <a:close/>
              </a:path>
            </a:pathLst>
          </a:custGeom>
          <a:solidFill>
            <a:srgbClr val="E9E9E9"/>
          </a:solidFill>
          <a:ln>
            <a:solidFill>
              <a:schemeClr val="tx1"/>
            </a:solidFill>
            <a:prstDash val="dash"/>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sp>
        <p:nvSpPr>
          <p:cNvPr id="2" name="Title 1"/>
          <p:cNvSpPr>
            <a:spLocks noGrp="1"/>
          </p:cNvSpPr>
          <p:nvPr>
            <p:ph type="title"/>
          </p:nvPr>
        </p:nvSpPr>
        <p:spPr/>
        <p:txBody>
          <a:bodyPr/>
          <a:lstStyle/>
          <a:p>
            <a:r>
              <a:rPr lang="en-US" dirty="0"/>
              <a:t>Bringing together the necessary people</a:t>
            </a:r>
          </a:p>
        </p:txBody>
      </p:sp>
      <p:grpSp>
        <p:nvGrpSpPr>
          <p:cNvPr id="94" name="Group 5"/>
          <p:cNvGrpSpPr>
            <a:grpSpLocks noChangeAspect="1"/>
          </p:cNvGrpSpPr>
          <p:nvPr/>
        </p:nvGrpSpPr>
        <p:grpSpPr>
          <a:xfrm>
            <a:off x="2365788" y="876410"/>
            <a:ext cx="411234" cy="981936"/>
            <a:chOff x="741362" y="1755648"/>
            <a:chExt cx="838201" cy="2001438"/>
          </a:xfrm>
          <a:effectLst>
            <a:outerShdw blurRad="50800" dist="38100" algn="l" rotWithShape="0">
              <a:prstClr val="black">
                <a:alpha val="40000"/>
              </a:prstClr>
            </a:outerShdw>
          </a:effectLst>
        </p:grpSpPr>
        <p:sp>
          <p:nvSpPr>
            <p:cNvPr id="95" name="Rectangle 4"/>
            <p:cNvSpPr>
              <a:spLocks noChangeArrowheads="1"/>
            </p:cNvSpPr>
            <p:nvPr/>
          </p:nvSpPr>
          <p:spPr bwMode="auto">
            <a:xfrm>
              <a:off x="741362" y="2213932"/>
              <a:ext cx="838200" cy="1543154"/>
            </a:xfrm>
            <a:prstGeom prst="rect">
              <a:avLst/>
            </a:prstGeom>
            <a:gradFill flip="none" rotWithShape="1">
              <a:gsLst>
                <a:gs pos="0">
                  <a:schemeClr val="accent5">
                    <a:lumMod val="50000"/>
                  </a:schemeClr>
                </a:gs>
                <a:gs pos="50000">
                  <a:schemeClr val="accent5">
                    <a:lumMod val="75000"/>
                  </a:schemeClr>
                </a:gs>
                <a:gs pos="100000">
                  <a:schemeClr val="accent5">
                    <a:lumMod val="50000"/>
                  </a:schemeClr>
                </a:gs>
              </a:gsLst>
              <a:lin ang="10800000" scaled="1"/>
              <a:tileRect/>
            </a:gradFill>
            <a:ln w="9525">
              <a:gradFill>
                <a:gsLst>
                  <a:gs pos="0">
                    <a:schemeClr val="accent5">
                      <a:lumMod val="50000"/>
                    </a:schemeClr>
                  </a:gs>
                  <a:gs pos="50000">
                    <a:schemeClr val="accent5">
                      <a:lumMod val="50000"/>
                    </a:schemeClr>
                  </a:gs>
                  <a:gs pos="100000">
                    <a:schemeClr val="accent5">
                      <a:lumMod val="75000"/>
                    </a:schemeClr>
                  </a:gs>
                </a:gsLst>
                <a:lin ang="5400000" scaled="0"/>
              </a:gradFill>
              <a:miter lim="800000"/>
              <a:headEnd/>
              <a:tailEnd/>
            </a:ln>
          </p:spPr>
          <p:txBody>
            <a:bodyPr vert="vert270" wrap="none" anchor="ctr"/>
            <a:lstStyle/>
            <a:p>
              <a:pPr algn="ctr"/>
              <a:endParaRPr lang="en-US" sz="1350" b="1" dirty="0">
                <a:ln>
                  <a:solidFill>
                    <a:schemeClr val="bg1">
                      <a:alpha val="0"/>
                    </a:schemeClr>
                  </a:solidFill>
                </a:ln>
                <a:solidFill>
                  <a:schemeClr val="bg1"/>
                </a:solidFill>
              </a:endParaRPr>
            </a:p>
          </p:txBody>
        </p:sp>
        <p:grpSp>
          <p:nvGrpSpPr>
            <p:cNvPr id="96" name="Group 37"/>
            <p:cNvGrpSpPr/>
            <p:nvPr/>
          </p:nvGrpSpPr>
          <p:grpSpPr>
            <a:xfrm>
              <a:off x="741362" y="1755648"/>
              <a:ext cx="838201" cy="450851"/>
              <a:chOff x="738186" y="1749424"/>
              <a:chExt cx="838201" cy="450851"/>
            </a:xfrm>
          </p:grpSpPr>
          <p:sp>
            <p:nvSpPr>
              <p:cNvPr id="97" name="Oval 3"/>
              <p:cNvSpPr>
                <a:spLocks noChangeArrowheads="1"/>
              </p:cNvSpPr>
              <p:nvPr/>
            </p:nvSpPr>
            <p:spPr bwMode="auto">
              <a:xfrm>
                <a:off x="738186" y="1752597"/>
                <a:ext cx="838201" cy="447678"/>
              </a:xfrm>
              <a:custGeom>
                <a:avLst/>
                <a:gdLst>
                  <a:gd name="connsiteX0" fmla="*/ 0 w 838200"/>
                  <a:gd name="connsiteY0" fmla="*/ 439616 h 879231"/>
                  <a:gd name="connsiteX1" fmla="*/ 115758 w 838200"/>
                  <a:gd name="connsiteY1" fmla="*/ 136274 h 879231"/>
                  <a:gd name="connsiteX2" fmla="*/ 419100 w 838200"/>
                  <a:gd name="connsiteY2" fmla="*/ 1 h 879231"/>
                  <a:gd name="connsiteX3" fmla="*/ 722442 w 838200"/>
                  <a:gd name="connsiteY3" fmla="*/ 136275 h 879231"/>
                  <a:gd name="connsiteX4" fmla="*/ 838199 w 838200"/>
                  <a:gd name="connsiteY4" fmla="*/ 439617 h 879231"/>
                  <a:gd name="connsiteX5" fmla="*/ 722441 w 838200"/>
                  <a:gd name="connsiteY5" fmla="*/ 742959 h 879231"/>
                  <a:gd name="connsiteX6" fmla="*/ 419099 w 838200"/>
                  <a:gd name="connsiteY6" fmla="*/ 879233 h 879231"/>
                  <a:gd name="connsiteX7" fmla="*/ 115757 w 838200"/>
                  <a:gd name="connsiteY7" fmla="*/ 742959 h 879231"/>
                  <a:gd name="connsiteX8" fmla="*/ -1 w 838200"/>
                  <a:gd name="connsiteY8" fmla="*/ 439617 h 879231"/>
                  <a:gd name="connsiteX9" fmla="*/ 0 w 838200"/>
                  <a:gd name="connsiteY9" fmla="*/ 439616 h 879231"/>
                  <a:gd name="connsiteX0" fmla="*/ 1 w 838201"/>
                  <a:gd name="connsiteY0" fmla="*/ 439616 h 793516"/>
                  <a:gd name="connsiteX1" fmla="*/ 115759 w 838201"/>
                  <a:gd name="connsiteY1" fmla="*/ 136274 h 793516"/>
                  <a:gd name="connsiteX2" fmla="*/ 419101 w 838201"/>
                  <a:gd name="connsiteY2" fmla="*/ 1 h 793516"/>
                  <a:gd name="connsiteX3" fmla="*/ 722443 w 838201"/>
                  <a:gd name="connsiteY3" fmla="*/ 136275 h 793516"/>
                  <a:gd name="connsiteX4" fmla="*/ 838200 w 838201"/>
                  <a:gd name="connsiteY4" fmla="*/ 439617 h 793516"/>
                  <a:gd name="connsiteX5" fmla="*/ 722442 w 838201"/>
                  <a:gd name="connsiteY5" fmla="*/ 742959 h 793516"/>
                  <a:gd name="connsiteX6" fmla="*/ 115758 w 838201"/>
                  <a:gd name="connsiteY6" fmla="*/ 742959 h 793516"/>
                  <a:gd name="connsiteX7" fmla="*/ 0 w 838201"/>
                  <a:gd name="connsiteY7" fmla="*/ 439617 h 793516"/>
                  <a:gd name="connsiteX8" fmla="*/ 1 w 838201"/>
                  <a:gd name="connsiteY8" fmla="*/ 439616 h 793516"/>
                  <a:gd name="connsiteX0" fmla="*/ 1 w 838201"/>
                  <a:gd name="connsiteY0" fmla="*/ 439616 h 742959"/>
                  <a:gd name="connsiteX1" fmla="*/ 115759 w 838201"/>
                  <a:gd name="connsiteY1" fmla="*/ 136274 h 742959"/>
                  <a:gd name="connsiteX2" fmla="*/ 419101 w 838201"/>
                  <a:gd name="connsiteY2" fmla="*/ 1 h 742959"/>
                  <a:gd name="connsiteX3" fmla="*/ 722443 w 838201"/>
                  <a:gd name="connsiteY3" fmla="*/ 136275 h 742959"/>
                  <a:gd name="connsiteX4" fmla="*/ 838200 w 838201"/>
                  <a:gd name="connsiteY4" fmla="*/ 439617 h 742959"/>
                  <a:gd name="connsiteX5" fmla="*/ 722442 w 838201"/>
                  <a:gd name="connsiteY5" fmla="*/ 742959 h 742959"/>
                  <a:gd name="connsiteX6" fmla="*/ 0 w 838201"/>
                  <a:gd name="connsiteY6" fmla="*/ 439617 h 742959"/>
                  <a:gd name="connsiteX7" fmla="*/ 1 w 838201"/>
                  <a:gd name="connsiteY7" fmla="*/ 439616 h 742959"/>
                  <a:gd name="connsiteX0" fmla="*/ 1 w 838201"/>
                  <a:gd name="connsiteY0" fmla="*/ 439616 h 490174"/>
                  <a:gd name="connsiteX1" fmla="*/ 115759 w 838201"/>
                  <a:gd name="connsiteY1" fmla="*/ 136274 h 490174"/>
                  <a:gd name="connsiteX2" fmla="*/ 419101 w 838201"/>
                  <a:gd name="connsiteY2" fmla="*/ 1 h 490174"/>
                  <a:gd name="connsiteX3" fmla="*/ 722443 w 838201"/>
                  <a:gd name="connsiteY3" fmla="*/ 136275 h 490174"/>
                  <a:gd name="connsiteX4" fmla="*/ 838200 w 838201"/>
                  <a:gd name="connsiteY4" fmla="*/ 439617 h 490174"/>
                  <a:gd name="connsiteX5" fmla="*/ 0 w 838201"/>
                  <a:gd name="connsiteY5" fmla="*/ 439617 h 490174"/>
                  <a:gd name="connsiteX6" fmla="*/ 1 w 838201"/>
                  <a:gd name="connsiteY6" fmla="*/ 439616 h 490174"/>
                  <a:gd name="connsiteX0" fmla="*/ 1 w 838201"/>
                  <a:gd name="connsiteY0" fmla="*/ 439616 h 439617"/>
                  <a:gd name="connsiteX1" fmla="*/ 115759 w 838201"/>
                  <a:gd name="connsiteY1" fmla="*/ 136274 h 439617"/>
                  <a:gd name="connsiteX2" fmla="*/ 419101 w 838201"/>
                  <a:gd name="connsiteY2" fmla="*/ 1 h 439617"/>
                  <a:gd name="connsiteX3" fmla="*/ 722443 w 838201"/>
                  <a:gd name="connsiteY3" fmla="*/ 136275 h 439617"/>
                  <a:gd name="connsiteX4" fmla="*/ 838200 w 838201"/>
                  <a:gd name="connsiteY4" fmla="*/ 439617 h 439617"/>
                  <a:gd name="connsiteX5" fmla="*/ 0 w 838201"/>
                  <a:gd name="connsiteY5" fmla="*/ 439617 h 439617"/>
                  <a:gd name="connsiteX6" fmla="*/ 1 w 838201"/>
                  <a:gd name="connsiteY6" fmla="*/ 439616 h 439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8201" h="439617">
                    <a:moveTo>
                      <a:pt x="1" y="439616"/>
                    </a:moveTo>
                    <a:cubicBezTo>
                      <a:pt x="1" y="326657"/>
                      <a:pt x="41453" y="218033"/>
                      <a:pt x="115759" y="136274"/>
                    </a:cubicBezTo>
                    <a:cubicBezTo>
                      <a:pt x="194853" y="49248"/>
                      <a:pt x="304476" y="0"/>
                      <a:pt x="419101" y="1"/>
                    </a:cubicBezTo>
                    <a:cubicBezTo>
                      <a:pt x="533726" y="1"/>
                      <a:pt x="643350" y="49249"/>
                      <a:pt x="722443" y="136275"/>
                    </a:cubicBezTo>
                    <a:cubicBezTo>
                      <a:pt x="796749" y="218034"/>
                      <a:pt x="838201" y="326659"/>
                      <a:pt x="838200" y="439617"/>
                    </a:cubicBezTo>
                    <a:lnTo>
                      <a:pt x="0" y="439617"/>
                    </a:lnTo>
                    <a:lnTo>
                      <a:pt x="1" y="439616"/>
                    </a:lnTo>
                    <a:close/>
                  </a:path>
                </a:pathLst>
              </a:custGeom>
              <a:gradFill flip="none" rotWithShape="1">
                <a:gsLst>
                  <a:gs pos="0">
                    <a:schemeClr val="accent5">
                      <a:lumMod val="50000"/>
                    </a:schemeClr>
                  </a:gs>
                  <a:gs pos="50000">
                    <a:schemeClr val="accent5">
                      <a:lumMod val="50000"/>
                    </a:schemeClr>
                  </a:gs>
                  <a:gs pos="100000">
                    <a:schemeClr val="accent5">
                      <a:lumMod val="75000"/>
                    </a:schemeClr>
                  </a:gs>
                </a:gsLst>
                <a:lin ang="5400000" scaled="1"/>
                <a:tileRect/>
              </a:gradFill>
              <a:ln w="9525">
                <a:gradFill>
                  <a:gsLst>
                    <a:gs pos="0">
                      <a:schemeClr val="accent5">
                        <a:lumMod val="50000"/>
                      </a:schemeClr>
                    </a:gs>
                    <a:gs pos="50000">
                      <a:schemeClr val="accent5">
                        <a:lumMod val="50000"/>
                      </a:schemeClr>
                    </a:gs>
                    <a:gs pos="100000">
                      <a:schemeClr val="accent5">
                        <a:lumMod val="75000"/>
                      </a:schemeClr>
                    </a:gs>
                  </a:gsLst>
                  <a:lin ang="5400000" scaled="0"/>
                </a:gradFill>
                <a:round/>
                <a:headEnd/>
                <a:tailEnd/>
              </a:ln>
            </p:spPr>
            <p:txBody>
              <a:bodyPr wrap="none" anchor="ctr"/>
              <a:lstStyle/>
              <a:p>
                <a:endParaRPr lang="en-US" sz="1350" dirty="0"/>
              </a:p>
            </p:txBody>
          </p:sp>
          <p:sp>
            <p:nvSpPr>
              <p:cNvPr id="98" name="Arc 5"/>
              <p:cNvSpPr>
                <a:spLocks/>
              </p:cNvSpPr>
              <p:nvPr/>
            </p:nvSpPr>
            <p:spPr bwMode="auto">
              <a:xfrm>
                <a:off x="1176338" y="1752599"/>
                <a:ext cx="304800" cy="441326"/>
              </a:xfrm>
              <a:custGeom>
                <a:avLst/>
                <a:gdLst>
                  <a:gd name="T0" fmla="*/ 0 w 21600"/>
                  <a:gd name="T1" fmla="*/ 0 h 21600"/>
                  <a:gd name="T2" fmla="*/ 192 w 21600"/>
                  <a:gd name="T3" fmla="*/ 240 h 21600"/>
                  <a:gd name="T4" fmla="*/ 0 w 21600"/>
                  <a:gd name="T5" fmla="*/ 24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gradFill>
                <a:gsLst>
                  <a:gs pos="0">
                    <a:schemeClr val="accent5">
                      <a:lumMod val="50000"/>
                    </a:schemeClr>
                  </a:gs>
                  <a:gs pos="50000">
                    <a:schemeClr val="accent5">
                      <a:lumMod val="50000"/>
                    </a:schemeClr>
                  </a:gs>
                  <a:gs pos="100000">
                    <a:schemeClr val="accent5">
                      <a:lumMod val="75000"/>
                    </a:schemeClr>
                  </a:gs>
                </a:gsLst>
                <a:lin ang="5400000" scaled="1"/>
              </a:gradFill>
              <a:ln w="9525">
                <a:gradFill>
                  <a:gsLst>
                    <a:gs pos="0">
                      <a:schemeClr val="accent5">
                        <a:lumMod val="50000"/>
                      </a:schemeClr>
                    </a:gs>
                    <a:gs pos="50000">
                      <a:schemeClr val="accent5">
                        <a:lumMod val="50000"/>
                      </a:schemeClr>
                    </a:gs>
                    <a:gs pos="100000">
                      <a:schemeClr val="accent5">
                        <a:lumMod val="75000"/>
                      </a:schemeClr>
                    </a:gs>
                  </a:gsLst>
                  <a:lin ang="5400000" scaled="0"/>
                </a:gradFill>
                <a:round/>
                <a:headEnd/>
                <a:tailEnd/>
              </a:ln>
            </p:spPr>
            <p:txBody>
              <a:bodyPr wrap="none" anchor="ctr"/>
              <a:lstStyle/>
              <a:p>
                <a:endParaRPr lang="en-US" sz="1350" dirty="0"/>
              </a:p>
            </p:txBody>
          </p:sp>
          <p:sp>
            <p:nvSpPr>
              <p:cNvPr id="99" name="Arc 6"/>
              <p:cNvSpPr>
                <a:spLocks/>
              </p:cNvSpPr>
              <p:nvPr/>
            </p:nvSpPr>
            <p:spPr bwMode="auto">
              <a:xfrm flipH="1">
                <a:off x="822005" y="1755775"/>
                <a:ext cx="292417" cy="441325"/>
              </a:xfrm>
              <a:custGeom>
                <a:avLst/>
                <a:gdLst>
                  <a:gd name="T0" fmla="*/ 0 w 21600"/>
                  <a:gd name="T1" fmla="*/ 0 h 21600"/>
                  <a:gd name="T2" fmla="*/ 192 w 21600"/>
                  <a:gd name="T3" fmla="*/ 240 h 21600"/>
                  <a:gd name="T4" fmla="*/ 0 w 21600"/>
                  <a:gd name="T5" fmla="*/ 24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gradFill>
                <a:gsLst>
                  <a:gs pos="0">
                    <a:schemeClr val="accent5">
                      <a:lumMod val="50000"/>
                    </a:schemeClr>
                  </a:gs>
                  <a:gs pos="50000">
                    <a:schemeClr val="accent5">
                      <a:lumMod val="75000"/>
                    </a:schemeClr>
                  </a:gs>
                  <a:gs pos="100000">
                    <a:schemeClr val="accent5">
                      <a:lumMod val="75000"/>
                    </a:schemeClr>
                  </a:gs>
                </a:gsLst>
                <a:lin ang="5400000" scaled="1"/>
              </a:gradFill>
              <a:ln w="9525">
                <a:gradFill>
                  <a:gsLst>
                    <a:gs pos="0">
                      <a:schemeClr val="accent5">
                        <a:lumMod val="50000"/>
                      </a:schemeClr>
                    </a:gs>
                    <a:gs pos="50000">
                      <a:schemeClr val="accent5">
                        <a:lumMod val="50000"/>
                      </a:schemeClr>
                    </a:gs>
                    <a:gs pos="100000">
                      <a:schemeClr val="accent5">
                        <a:lumMod val="75000"/>
                      </a:schemeClr>
                    </a:gs>
                  </a:gsLst>
                  <a:lin ang="5400000" scaled="0"/>
                </a:gradFill>
                <a:round/>
                <a:headEnd/>
                <a:tailEnd/>
              </a:ln>
            </p:spPr>
            <p:txBody>
              <a:bodyPr wrap="none" anchor="ctr"/>
              <a:lstStyle/>
              <a:p>
                <a:endParaRPr lang="en-US" sz="1350" dirty="0"/>
              </a:p>
            </p:txBody>
          </p:sp>
          <p:sp>
            <p:nvSpPr>
              <p:cNvPr id="100" name="Arc 7"/>
              <p:cNvSpPr>
                <a:spLocks/>
              </p:cNvSpPr>
              <p:nvPr/>
            </p:nvSpPr>
            <p:spPr bwMode="auto">
              <a:xfrm>
                <a:off x="1148557" y="1751499"/>
                <a:ext cx="254000" cy="445601"/>
              </a:xfrm>
              <a:custGeom>
                <a:avLst/>
                <a:gdLst>
                  <a:gd name="T0" fmla="*/ 12 w 21600"/>
                  <a:gd name="T1" fmla="*/ 0 h 21541"/>
                  <a:gd name="T2" fmla="*/ 160 w 21600"/>
                  <a:gd name="T3" fmla="*/ 239 h 21541"/>
                  <a:gd name="T4" fmla="*/ 0 w 21600"/>
                  <a:gd name="T5" fmla="*/ 239 h 21541"/>
                  <a:gd name="T6" fmla="*/ 0 60000 65536"/>
                  <a:gd name="T7" fmla="*/ 0 60000 65536"/>
                  <a:gd name="T8" fmla="*/ 0 60000 65536"/>
                  <a:gd name="T9" fmla="*/ 0 w 21600"/>
                  <a:gd name="T10" fmla="*/ 0 h 21541"/>
                  <a:gd name="T11" fmla="*/ 21600 w 21600"/>
                  <a:gd name="T12" fmla="*/ 21541 h 21541"/>
                </a:gdLst>
                <a:ahLst/>
                <a:cxnLst>
                  <a:cxn ang="T6">
                    <a:pos x="T0" y="T1"/>
                  </a:cxn>
                  <a:cxn ang="T7">
                    <a:pos x="T2" y="T3"/>
                  </a:cxn>
                  <a:cxn ang="T8">
                    <a:pos x="T4" y="T5"/>
                  </a:cxn>
                </a:cxnLst>
                <a:rect l="T9" t="T10" r="T11" b="T12"/>
                <a:pathLst>
                  <a:path w="21600" h="21541" fill="none" extrusionOk="0">
                    <a:moveTo>
                      <a:pt x="1589" y="-1"/>
                    </a:moveTo>
                    <a:cubicBezTo>
                      <a:pt x="12871" y="831"/>
                      <a:pt x="21600" y="10228"/>
                      <a:pt x="21600" y="21541"/>
                    </a:cubicBezTo>
                  </a:path>
                  <a:path w="21600" h="21541" stroke="0" extrusionOk="0">
                    <a:moveTo>
                      <a:pt x="1589" y="-1"/>
                    </a:moveTo>
                    <a:cubicBezTo>
                      <a:pt x="12871" y="831"/>
                      <a:pt x="21600" y="10228"/>
                      <a:pt x="21600" y="21541"/>
                    </a:cubicBezTo>
                    <a:lnTo>
                      <a:pt x="0" y="21541"/>
                    </a:lnTo>
                    <a:close/>
                  </a:path>
                </a:pathLst>
              </a:custGeom>
              <a:gradFill>
                <a:gsLst>
                  <a:gs pos="0">
                    <a:schemeClr val="accent5">
                      <a:lumMod val="50000"/>
                    </a:schemeClr>
                  </a:gs>
                  <a:gs pos="50000">
                    <a:schemeClr val="accent5">
                      <a:lumMod val="75000"/>
                    </a:schemeClr>
                  </a:gs>
                  <a:gs pos="100000">
                    <a:schemeClr val="accent5">
                      <a:lumMod val="75000"/>
                    </a:schemeClr>
                  </a:gs>
                </a:gsLst>
                <a:lin ang="5400000" scaled="1"/>
              </a:gradFill>
              <a:ln w="9525">
                <a:gradFill>
                  <a:gsLst>
                    <a:gs pos="0">
                      <a:schemeClr val="accent5">
                        <a:lumMod val="50000"/>
                      </a:schemeClr>
                    </a:gs>
                    <a:gs pos="50000">
                      <a:schemeClr val="accent5">
                        <a:lumMod val="50000"/>
                      </a:schemeClr>
                    </a:gs>
                    <a:gs pos="100000">
                      <a:schemeClr val="accent5">
                        <a:lumMod val="75000"/>
                      </a:schemeClr>
                    </a:gs>
                  </a:gsLst>
                  <a:lin ang="5400000" scaled="0"/>
                </a:gradFill>
                <a:round/>
                <a:headEnd/>
                <a:tailEnd/>
              </a:ln>
            </p:spPr>
            <p:txBody>
              <a:bodyPr wrap="none" anchor="ctr"/>
              <a:lstStyle/>
              <a:p>
                <a:endParaRPr lang="en-US" sz="1350" dirty="0"/>
              </a:p>
            </p:txBody>
          </p:sp>
          <p:sp>
            <p:nvSpPr>
              <p:cNvPr id="101" name="Arc 9"/>
              <p:cNvSpPr>
                <a:spLocks/>
              </p:cNvSpPr>
              <p:nvPr/>
            </p:nvSpPr>
            <p:spPr bwMode="auto">
              <a:xfrm flipH="1">
                <a:off x="1022350" y="1754980"/>
                <a:ext cx="101600" cy="437784"/>
              </a:xfrm>
              <a:custGeom>
                <a:avLst/>
                <a:gdLst>
                  <a:gd name="T0" fmla="*/ 5 w 21600"/>
                  <a:gd name="T1" fmla="*/ 0 h 21541"/>
                  <a:gd name="T2" fmla="*/ 64 w 21600"/>
                  <a:gd name="T3" fmla="*/ 239 h 21541"/>
                  <a:gd name="T4" fmla="*/ 0 w 21600"/>
                  <a:gd name="T5" fmla="*/ 239 h 21541"/>
                  <a:gd name="T6" fmla="*/ 0 60000 65536"/>
                  <a:gd name="T7" fmla="*/ 0 60000 65536"/>
                  <a:gd name="T8" fmla="*/ 0 60000 65536"/>
                  <a:gd name="T9" fmla="*/ 0 w 21600"/>
                  <a:gd name="T10" fmla="*/ 0 h 21541"/>
                  <a:gd name="T11" fmla="*/ 21600 w 21600"/>
                  <a:gd name="T12" fmla="*/ 21541 h 21541"/>
                </a:gdLst>
                <a:ahLst/>
                <a:cxnLst>
                  <a:cxn ang="T6">
                    <a:pos x="T0" y="T1"/>
                  </a:cxn>
                  <a:cxn ang="T7">
                    <a:pos x="T2" y="T3"/>
                  </a:cxn>
                  <a:cxn ang="T8">
                    <a:pos x="T4" y="T5"/>
                  </a:cxn>
                </a:cxnLst>
                <a:rect l="T9" t="T10" r="T11" b="T12"/>
                <a:pathLst>
                  <a:path w="21600" h="21541" fill="none" extrusionOk="0">
                    <a:moveTo>
                      <a:pt x="1589" y="-1"/>
                    </a:moveTo>
                    <a:cubicBezTo>
                      <a:pt x="12871" y="831"/>
                      <a:pt x="21600" y="10228"/>
                      <a:pt x="21600" y="21541"/>
                    </a:cubicBezTo>
                  </a:path>
                  <a:path w="21600" h="21541" stroke="0" extrusionOk="0">
                    <a:moveTo>
                      <a:pt x="1589" y="-1"/>
                    </a:moveTo>
                    <a:cubicBezTo>
                      <a:pt x="12871" y="831"/>
                      <a:pt x="21600" y="10228"/>
                      <a:pt x="21600" y="21541"/>
                    </a:cubicBezTo>
                    <a:lnTo>
                      <a:pt x="0" y="21541"/>
                    </a:lnTo>
                    <a:close/>
                  </a:path>
                </a:pathLst>
              </a:custGeom>
              <a:gradFill>
                <a:gsLst>
                  <a:gs pos="0">
                    <a:schemeClr val="accent5">
                      <a:lumMod val="50000"/>
                    </a:schemeClr>
                  </a:gs>
                  <a:gs pos="50000">
                    <a:schemeClr val="accent5">
                      <a:lumMod val="50000"/>
                    </a:schemeClr>
                  </a:gs>
                  <a:gs pos="100000">
                    <a:schemeClr val="accent5">
                      <a:lumMod val="75000"/>
                    </a:schemeClr>
                  </a:gs>
                </a:gsLst>
                <a:lin ang="5400000" scaled="1"/>
              </a:gradFill>
              <a:ln w="9525">
                <a:gradFill>
                  <a:gsLst>
                    <a:gs pos="0">
                      <a:schemeClr val="accent5">
                        <a:lumMod val="50000"/>
                      </a:schemeClr>
                    </a:gs>
                    <a:gs pos="50000">
                      <a:schemeClr val="accent5">
                        <a:lumMod val="50000"/>
                      </a:schemeClr>
                    </a:gs>
                    <a:gs pos="100000">
                      <a:schemeClr val="accent5">
                        <a:lumMod val="75000"/>
                      </a:schemeClr>
                    </a:gs>
                  </a:gsLst>
                  <a:lin ang="5400000" scaled="0"/>
                </a:gradFill>
                <a:round/>
                <a:headEnd/>
                <a:tailEnd/>
              </a:ln>
            </p:spPr>
            <p:txBody>
              <a:bodyPr wrap="none" anchor="ctr"/>
              <a:lstStyle/>
              <a:p>
                <a:endParaRPr lang="en-US" sz="1350" dirty="0"/>
              </a:p>
            </p:txBody>
          </p:sp>
          <p:sp>
            <p:nvSpPr>
              <p:cNvPr id="102" name="Arc 10"/>
              <p:cNvSpPr>
                <a:spLocks/>
              </p:cNvSpPr>
              <p:nvPr/>
            </p:nvSpPr>
            <p:spPr bwMode="auto">
              <a:xfrm>
                <a:off x="1154113" y="1752599"/>
                <a:ext cx="101600" cy="441326"/>
              </a:xfrm>
              <a:custGeom>
                <a:avLst/>
                <a:gdLst>
                  <a:gd name="T0" fmla="*/ 5 w 21600"/>
                  <a:gd name="T1" fmla="*/ 0 h 21541"/>
                  <a:gd name="T2" fmla="*/ 64 w 21600"/>
                  <a:gd name="T3" fmla="*/ 239 h 21541"/>
                  <a:gd name="T4" fmla="*/ 0 w 21600"/>
                  <a:gd name="T5" fmla="*/ 239 h 21541"/>
                  <a:gd name="T6" fmla="*/ 0 60000 65536"/>
                  <a:gd name="T7" fmla="*/ 0 60000 65536"/>
                  <a:gd name="T8" fmla="*/ 0 60000 65536"/>
                  <a:gd name="T9" fmla="*/ 0 w 21600"/>
                  <a:gd name="T10" fmla="*/ 0 h 21541"/>
                  <a:gd name="T11" fmla="*/ 21600 w 21600"/>
                  <a:gd name="T12" fmla="*/ 21541 h 21541"/>
                </a:gdLst>
                <a:ahLst/>
                <a:cxnLst>
                  <a:cxn ang="T6">
                    <a:pos x="T0" y="T1"/>
                  </a:cxn>
                  <a:cxn ang="T7">
                    <a:pos x="T2" y="T3"/>
                  </a:cxn>
                  <a:cxn ang="T8">
                    <a:pos x="T4" y="T5"/>
                  </a:cxn>
                </a:cxnLst>
                <a:rect l="T9" t="T10" r="T11" b="T12"/>
                <a:pathLst>
                  <a:path w="21600" h="21541" fill="none" extrusionOk="0">
                    <a:moveTo>
                      <a:pt x="1589" y="-1"/>
                    </a:moveTo>
                    <a:cubicBezTo>
                      <a:pt x="12871" y="831"/>
                      <a:pt x="21600" y="10228"/>
                      <a:pt x="21600" y="21541"/>
                    </a:cubicBezTo>
                  </a:path>
                  <a:path w="21600" h="21541" stroke="0" extrusionOk="0">
                    <a:moveTo>
                      <a:pt x="1589" y="-1"/>
                    </a:moveTo>
                    <a:cubicBezTo>
                      <a:pt x="12871" y="831"/>
                      <a:pt x="21600" y="10228"/>
                      <a:pt x="21600" y="21541"/>
                    </a:cubicBezTo>
                    <a:lnTo>
                      <a:pt x="0" y="21541"/>
                    </a:lnTo>
                    <a:close/>
                  </a:path>
                </a:pathLst>
              </a:custGeom>
              <a:gradFill>
                <a:gsLst>
                  <a:gs pos="0">
                    <a:schemeClr val="accent5">
                      <a:lumMod val="50000"/>
                    </a:schemeClr>
                  </a:gs>
                  <a:gs pos="50000">
                    <a:schemeClr val="accent5">
                      <a:lumMod val="75000"/>
                    </a:schemeClr>
                  </a:gs>
                  <a:gs pos="100000">
                    <a:schemeClr val="accent5">
                      <a:lumMod val="75000"/>
                    </a:schemeClr>
                  </a:gs>
                </a:gsLst>
                <a:lin ang="5400000" scaled="1"/>
              </a:gradFill>
              <a:ln w="9525">
                <a:noFill/>
                <a:round/>
                <a:headEnd/>
                <a:tailEnd/>
              </a:ln>
            </p:spPr>
            <p:txBody>
              <a:bodyPr wrap="none" anchor="ctr"/>
              <a:lstStyle/>
              <a:p>
                <a:endParaRPr lang="en-US" sz="1350" dirty="0"/>
              </a:p>
            </p:txBody>
          </p:sp>
          <p:sp>
            <p:nvSpPr>
              <p:cNvPr id="103" name="Line 11"/>
              <p:cNvSpPr>
                <a:spLocks noChangeShapeType="1"/>
              </p:cNvSpPr>
              <p:nvPr/>
            </p:nvSpPr>
            <p:spPr bwMode="auto">
              <a:xfrm>
                <a:off x="1157285" y="1749424"/>
                <a:ext cx="0" cy="450851"/>
              </a:xfrm>
              <a:prstGeom prst="line">
                <a:avLst/>
              </a:prstGeom>
              <a:noFill/>
              <a:ln w="9525">
                <a:gradFill>
                  <a:gsLst>
                    <a:gs pos="0">
                      <a:schemeClr val="accent5">
                        <a:lumMod val="50000"/>
                      </a:schemeClr>
                    </a:gs>
                    <a:gs pos="50000">
                      <a:schemeClr val="accent5">
                        <a:lumMod val="50000"/>
                      </a:schemeClr>
                    </a:gs>
                    <a:gs pos="100000">
                      <a:schemeClr val="accent5">
                        <a:lumMod val="75000"/>
                      </a:schemeClr>
                    </a:gs>
                  </a:gsLst>
                  <a:lin ang="5400000" scaled="0"/>
                </a:gradFill>
                <a:round/>
                <a:headEnd/>
                <a:tailEnd/>
              </a:ln>
            </p:spPr>
            <p:txBody>
              <a:bodyPr wrap="none" anchor="ctr"/>
              <a:lstStyle/>
              <a:p>
                <a:endParaRPr lang="en-US" sz="1350" dirty="0"/>
              </a:p>
            </p:txBody>
          </p:sp>
        </p:grpSp>
      </p:grpSp>
      <p:grpSp>
        <p:nvGrpSpPr>
          <p:cNvPr id="104" name="Group 103"/>
          <p:cNvGrpSpPr>
            <a:grpSpLocks noChangeAspect="1"/>
          </p:cNvGrpSpPr>
          <p:nvPr/>
        </p:nvGrpSpPr>
        <p:grpSpPr>
          <a:xfrm>
            <a:off x="3880388" y="876410"/>
            <a:ext cx="411234" cy="981936"/>
            <a:chOff x="1923753" y="1755648"/>
            <a:chExt cx="838201" cy="2001438"/>
          </a:xfrm>
          <a:effectLst>
            <a:outerShdw blurRad="50800" dist="38100" algn="l" rotWithShape="0">
              <a:prstClr val="black">
                <a:alpha val="40000"/>
              </a:prstClr>
            </a:outerShdw>
          </a:effectLst>
        </p:grpSpPr>
        <p:sp>
          <p:nvSpPr>
            <p:cNvPr id="105" name="Rectangle 4"/>
            <p:cNvSpPr>
              <a:spLocks noChangeArrowheads="1"/>
            </p:cNvSpPr>
            <p:nvPr/>
          </p:nvSpPr>
          <p:spPr bwMode="auto">
            <a:xfrm>
              <a:off x="1923753" y="2213932"/>
              <a:ext cx="838200" cy="1543154"/>
            </a:xfrm>
            <a:prstGeom prst="rect">
              <a:avLst/>
            </a:prstGeom>
            <a:gradFill flip="none" rotWithShape="1">
              <a:gsLst>
                <a:gs pos="0">
                  <a:schemeClr val="accent3">
                    <a:lumMod val="50000"/>
                  </a:schemeClr>
                </a:gs>
                <a:gs pos="50000">
                  <a:schemeClr val="accent3">
                    <a:lumMod val="75000"/>
                  </a:schemeClr>
                </a:gs>
                <a:gs pos="100000">
                  <a:schemeClr val="accent3">
                    <a:lumMod val="50000"/>
                  </a:schemeClr>
                </a:gs>
              </a:gsLst>
              <a:lin ang="10800000" scaled="1"/>
              <a:tileRect/>
            </a:gradFill>
            <a:ln w="9525">
              <a:gradFill>
                <a:gsLst>
                  <a:gs pos="0">
                    <a:schemeClr val="accent3">
                      <a:lumMod val="50000"/>
                    </a:schemeClr>
                  </a:gs>
                  <a:gs pos="50000">
                    <a:schemeClr val="accent3">
                      <a:lumMod val="50000"/>
                    </a:schemeClr>
                  </a:gs>
                  <a:gs pos="100000">
                    <a:schemeClr val="accent3">
                      <a:lumMod val="75000"/>
                    </a:schemeClr>
                  </a:gs>
                </a:gsLst>
                <a:lin ang="5400000" scaled="0"/>
              </a:gradFill>
              <a:miter lim="800000"/>
              <a:headEnd/>
              <a:tailEnd/>
            </a:ln>
          </p:spPr>
          <p:txBody>
            <a:bodyPr vert="vert270" wrap="none" anchor="ctr"/>
            <a:lstStyle/>
            <a:p>
              <a:pPr algn="ctr"/>
              <a:endParaRPr lang="en-US" sz="1350" b="1" dirty="0">
                <a:ln>
                  <a:solidFill>
                    <a:schemeClr val="bg1">
                      <a:alpha val="0"/>
                    </a:schemeClr>
                  </a:solidFill>
                </a:ln>
                <a:solidFill>
                  <a:schemeClr val="bg1"/>
                </a:solidFill>
              </a:endParaRPr>
            </a:p>
          </p:txBody>
        </p:sp>
        <p:grpSp>
          <p:nvGrpSpPr>
            <p:cNvPr id="106" name="Group 28"/>
            <p:cNvGrpSpPr/>
            <p:nvPr/>
          </p:nvGrpSpPr>
          <p:grpSpPr>
            <a:xfrm>
              <a:off x="1923753" y="1755648"/>
              <a:ext cx="838201" cy="450851"/>
              <a:chOff x="738186" y="1749424"/>
              <a:chExt cx="838201" cy="450851"/>
            </a:xfrm>
          </p:grpSpPr>
          <p:sp>
            <p:nvSpPr>
              <p:cNvPr id="107" name="Oval 3"/>
              <p:cNvSpPr>
                <a:spLocks noChangeArrowheads="1"/>
              </p:cNvSpPr>
              <p:nvPr/>
            </p:nvSpPr>
            <p:spPr bwMode="auto">
              <a:xfrm>
                <a:off x="738186" y="1752597"/>
                <a:ext cx="838201" cy="447678"/>
              </a:xfrm>
              <a:custGeom>
                <a:avLst/>
                <a:gdLst>
                  <a:gd name="connsiteX0" fmla="*/ 0 w 838200"/>
                  <a:gd name="connsiteY0" fmla="*/ 439616 h 879231"/>
                  <a:gd name="connsiteX1" fmla="*/ 115758 w 838200"/>
                  <a:gd name="connsiteY1" fmla="*/ 136274 h 879231"/>
                  <a:gd name="connsiteX2" fmla="*/ 419100 w 838200"/>
                  <a:gd name="connsiteY2" fmla="*/ 1 h 879231"/>
                  <a:gd name="connsiteX3" fmla="*/ 722442 w 838200"/>
                  <a:gd name="connsiteY3" fmla="*/ 136275 h 879231"/>
                  <a:gd name="connsiteX4" fmla="*/ 838199 w 838200"/>
                  <a:gd name="connsiteY4" fmla="*/ 439617 h 879231"/>
                  <a:gd name="connsiteX5" fmla="*/ 722441 w 838200"/>
                  <a:gd name="connsiteY5" fmla="*/ 742959 h 879231"/>
                  <a:gd name="connsiteX6" fmla="*/ 419099 w 838200"/>
                  <a:gd name="connsiteY6" fmla="*/ 879233 h 879231"/>
                  <a:gd name="connsiteX7" fmla="*/ 115757 w 838200"/>
                  <a:gd name="connsiteY7" fmla="*/ 742959 h 879231"/>
                  <a:gd name="connsiteX8" fmla="*/ -1 w 838200"/>
                  <a:gd name="connsiteY8" fmla="*/ 439617 h 879231"/>
                  <a:gd name="connsiteX9" fmla="*/ 0 w 838200"/>
                  <a:gd name="connsiteY9" fmla="*/ 439616 h 879231"/>
                  <a:gd name="connsiteX0" fmla="*/ 1 w 838201"/>
                  <a:gd name="connsiteY0" fmla="*/ 439616 h 793516"/>
                  <a:gd name="connsiteX1" fmla="*/ 115759 w 838201"/>
                  <a:gd name="connsiteY1" fmla="*/ 136274 h 793516"/>
                  <a:gd name="connsiteX2" fmla="*/ 419101 w 838201"/>
                  <a:gd name="connsiteY2" fmla="*/ 1 h 793516"/>
                  <a:gd name="connsiteX3" fmla="*/ 722443 w 838201"/>
                  <a:gd name="connsiteY3" fmla="*/ 136275 h 793516"/>
                  <a:gd name="connsiteX4" fmla="*/ 838200 w 838201"/>
                  <a:gd name="connsiteY4" fmla="*/ 439617 h 793516"/>
                  <a:gd name="connsiteX5" fmla="*/ 722442 w 838201"/>
                  <a:gd name="connsiteY5" fmla="*/ 742959 h 793516"/>
                  <a:gd name="connsiteX6" fmla="*/ 115758 w 838201"/>
                  <a:gd name="connsiteY6" fmla="*/ 742959 h 793516"/>
                  <a:gd name="connsiteX7" fmla="*/ 0 w 838201"/>
                  <a:gd name="connsiteY7" fmla="*/ 439617 h 793516"/>
                  <a:gd name="connsiteX8" fmla="*/ 1 w 838201"/>
                  <a:gd name="connsiteY8" fmla="*/ 439616 h 793516"/>
                  <a:gd name="connsiteX0" fmla="*/ 1 w 838201"/>
                  <a:gd name="connsiteY0" fmla="*/ 439616 h 742959"/>
                  <a:gd name="connsiteX1" fmla="*/ 115759 w 838201"/>
                  <a:gd name="connsiteY1" fmla="*/ 136274 h 742959"/>
                  <a:gd name="connsiteX2" fmla="*/ 419101 w 838201"/>
                  <a:gd name="connsiteY2" fmla="*/ 1 h 742959"/>
                  <a:gd name="connsiteX3" fmla="*/ 722443 w 838201"/>
                  <a:gd name="connsiteY3" fmla="*/ 136275 h 742959"/>
                  <a:gd name="connsiteX4" fmla="*/ 838200 w 838201"/>
                  <a:gd name="connsiteY4" fmla="*/ 439617 h 742959"/>
                  <a:gd name="connsiteX5" fmla="*/ 722442 w 838201"/>
                  <a:gd name="connsiteY5" fmla="*/ 742959 h 742959"/>
                  <a:gd name="connsiteX6" fmla="*/ 0 w 838201"/>
                  <a:gd name="connsiteY6" fmla="*/ 439617 h 742959"/>
                  <a:gd name="connsiteX7" fmla="*/ 1 w 838201"/>
                  <a:gd name="connsiteY7" fmla="*/ 439616 h 742959"/>
                  <a:gd name="connsiteX0" fmla="*/ 1 w 838201"/>
                  <a:gd name="connsiteY0" fmla="*/ 439616 h 490174"/>
                  <a:gd name="connsiteX1" fmla="*/ 115759 w 838201"/>
                  <a:gd name="connsiteY1" fmla="*/ 136274 h 490174"/>
                  <a:gd name="connsiteX2" fmla="*/ 419101 w 838201"/>
                  <a:gd name="connsiteY2" fmla="*/ 1 h 490174"/>
                  <a:gd name="connsiteX3" fmla="*/ 722443 w 838201"/>
                  <a:gd name="connsiteY3" fmla="*/ 136275 h 490174"/>
                  <a:gd name="connsiteX4" fmla="*/ 838200 w 838201"/>
                  <a:gd name="connsiteY4" fmla="*/ 439617 h 490174"/>
                  <a:gd name="connsiteX5" fmla="*/ 0 w 838201"/>
                  <a:gd name="connsiteY5" fmla="*/ 439617 h 490174"/>
                  <a:gd name="connsiteX6" fmla="*/ 1 w 838201"/>
                  <a:gd name="connsiteY6" fmla="*/ 439616 h 490174"/>
                  <a:gd name="connsiteX0" fmla="*/ 1 w 838201"/>
                  <a:gd name="connsiteY0" fmla="*/ 439616 h 439617"/>
                  <a:gd name="connsiteX1" fmla="*/ 115759 w 838201"/>
                  <a:gd name="connsiteY1" fmla="*/ 136274 h 439617"/>
                  <a:gd name="connsiteX2" fmla="*/ 419101 w 838201"/>
                  <a:gd name="connsiteY2" fmla="*/ 1 h 439617"/>
                  <a:gd name="connsiteX3" fmla="*/ 722443 w 838201"/>
                  <a:gd name="connsiteY3" fmla="*/ 136275 h 439617"/>
                  <a:gd name="connsiteX4" fmla="*/ 838200 w 838201"/>
                  <a:gd name="connsiteY4" fmla="*/ 439617 h 439617"/>
                  <a:gd name="connsiteX5" fmla="*/ 0 w 838201"/>
                  <a:gd name="connsiteY5" fmla="*/ 439617 h 439617"/>
                  <a:gd name="connsiteX6" fmla="*/ 1 w 838201"/>
                  <a:gd name="connsiteY6" fmla="*/ 439616 h 439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8201" h="439617">
                    <a:moveTo>
                      <a:pt x="1" y="439616"/>
                    </a:moveTo>
                    <a:cubicBezTo>
                      <a:pt x="1" y="326657"/>
                      <a:pt x="41453" y="218033"/>
                      <a:pt x="115759" y="136274"/>
                    </a:cubicBezTo>
                    <a:cubicBezTo>
                      <a:pt x="194853" y="49248"/>
                      <a:pt x="304476" y="0"/>
                      <a:pt x="419101" y="1"/>
                    </a:cubicBezTo>
                    <a:cubicBezTo>
                      <a:pt x="533726" y="1"/>
                      <a:pt x="643350" y="49249"/>
                      <a:pt x="722443" y="136275"/>
                    </a:cubicBezTo>
                    <a:cubicBezTo>
                      <a:pt x="796749" y="218034"/>
                      <a:pt x="838201" y="326659"/>
                      <a:pt x="838200" y="439617"/>
                    </a:cubicBezTo>
                    <a:lnTo>
                      <a:pt x="0" y="439617"/>
                    </a:lnTo>
                    <a:lnTo>
                      <a:pt x="1" y="439616"/>
                    </a:lnTo>
                    <a:close/>
                  </a:path>
                </a:pathLst>
              </a:custGeom>
              <a:gradFill flip="none" rotWithShape="1">
                <a:gsLst>
                  <a:gs pos="0">
                    <a:schemeClr val="accent3">
                      <a:lumMod val="50000"/>
                    </a:schemeClr>
                  </a:gs>
                  <a:gs pos="50000">
                    <a:schemeClr val="accent3">
                      <a:lumMod val="50000"/>
                    </a:schemeClr>
                  </a:gs>
                  <a:gs pos="100000">
                    <a:schemeClr val="accent3">
                      <a:lumMod val="75000"/>
                    </a:schemeClr>
                  </a:gs>
                </a:gsLst>
                <a:lin ang="5400000" scaled="1"/>
                <a:tileRect/>
              </a:gradFill>
              <a:ln w="9525">
                <a:gradFill>
                  <a:gsLst>
                    <a:gs pos="0">
                      <a:schemeClr val="accent3">
                        <a:lumMod val="50000"/>
                      </a:schemeClr>
                    </a:gs>
                    <a:gs pos="50000">
                      <a:schemeClr val="accent3">
                        <a:lumMod val="50000"/>
                      </a:schemeClr>
                    </a:gs>
                    <a:gs pos="100000">
                      <a:schemeClr val="accent3">
                        <a:lumMod val="75000"/>
                      </a:schemeClr>
                    </a:gs>
                  </a:gsLst>
                  <a:lin ang="5400000" scaled="0"/>
                </a:gradFill>
                <a:round/>
                <a:headEnd/>
                <a:tailEnd/>
              </a:ln>
            </p:spPr>
            <p:txBody>
              <a:bodyPr wrap="none" anchor="ctr"/>
              <a:lstStyle/>
              <a:p>
                <a:endParaRPr lang="en-US" sz="1350" dirty="0"/>
              </a:p>
            </p:txBody>
          </p:sp>
          <p:sp>
            <p:nvSpPr>
              <p:cNvPr id="108" name="Arc 5"/>
              <p:cNvSpPr>
                <a:spLocks/>
              </p:cNvSpPr>
              <p:nvPr/>
            </p:nvSpPr>
            <p:spPr bwMode="auto">
              <a:xfrm>
                <a:off x="1176338" y="1752599"/>
                <a:ext cx="304800" cy="441326"/>
              </a:xfrm>
              <a:custGeom>
                <a:avLst/>
                <a:gdLst>
                  <a:gd name="T0" fmla="*/ 0 w 21600"/>
                  <a:gd name="T1" fmla="*/ 0 h 21600"/>
                  <a:gd name="T2" fmla="*/ 192 w 21600"/>
                  <a:gd name="T3" fmla="*/ 240 h 21600"/>
                  <a:gd name="T4" fmla="*/ 0 w 21600"/>
                  <a:gd name="T5" fmla="*/ 24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gradFill>
                <a:gsLst>
                  <a:gs pos="0">
                    <a:schemeClr val="accent3">
                      <a:lumMod val="50000"/>
                    </a:schemeClr>
                  </a:gs>
                  <a:gs pos="50000">
                    <a:schemeClr val="accent3">
                      <a:lumMod val="50000"/>
                    </a:schemeClr>
                  </a:gs>
                  <a:gs pos="100000">
                    <a:schemeClr val="accent3">
                      <a:lumMod val="75000"/>
                    </a:schemeClr>
                  </a:gs>
                </a:gsLst>
                <a:lin ang="5400000" scaled="1"/>
              </a:gradFill>
              <a:ln w="9525">
                <a:gradFill>
                  <a:gsLst>
                    <a:gs pos="0">
                      <a:schemeClr val="accent3">
                        <a:lumMod val="50000"/>
                      </a:schemeClr>
                    </a:gs>
                    <a:gs pos="50000">
                      <a:schemeClr val="accent3">
                        <a:lumMod val="50000"/>
                      </a:schemeClr>
                    </a:gs>
                    <a:gs pos="100000">
                      <a:schemeClr val="accent3">
                        <a:lumMod val="75000"/>
                      </a:schemeClr>
                    </a:gs>
                  </a:gsLst>
                  <a:lin ang="5400000" scaled="0"/>
                </a:gradFill>
                <a:round/>
                <a:headEnd/>
                <a:tailEnd/>
              </a:ln>
            </p:spPr>
            <p:txBody>
              <a:bodyPr wrap="none" anchor="ctr"/>
              <a:lstStyle/>
              <a:p>
                <a:endParaRPr lang="en-US" sz="1350" dirty="0"/>
              </a:p>
            </p:txBody>
          </p:sp>
          <p:sp>
            <p:nvSpPr>
              <p:cNvPr id="109" name="Arc 6"/>
              <p:cNvSpPr>
                <a:spLocks/>
              </p:cNvSpPr>
              <p:nvPr/>
            </p:nvSpPr>
            <p:spPr bwMode="auto">
              <a:xfrm flipH="1">
                <a:off x="822005" y="1755775"/>
                <a:ext cx="292417" cy="441325"/>
              </a:xfrm>
              <a:custGeom>
                <a:avLst/>
                <a:gdLst>
                  <a:gd name="T0" fmla="*/ 0 w 21600"/>
                  <a:gd name="T1" fmla="*/ 0 h 21600"/>
                  <a:gd name="T2" fmla="*/ 192 w 21600"/>
                  <a:gd name="T3" fmla="*/ 240 h 21600"/>
                  <a:gd name="T4" fmla="*/ 0 w 21600"/>
                  <a:gd name="T5" fmla="*/ 24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gradFill>
                <a:gsLst>
                  <a:gs pos="0">
                    <a:schemeClr val="accent3">
                      <a:lumMod val="50000"/>
                    </a:schemeClr>
                  </a:gs>
                  <a:gs pos="50000">
                    <a:schemeClr val="accent3">
                      <a:lumMod val="75000"/>
                    </a:schemeClr>
                  </a:gs>
                  <a:gs pos="100000">
                    <a:schemeClr val="accent3">
                      <a:lumMod val="75000"/>
                    </a:schemeClr>
                  </a:gs>
                </a:gsLst>
                <a:lin ang="5400000" scaled="1"/>
              </a:gradFill>
              <a:ln w="9525">
                <a:gradFill>
                  <a:gsLst>
                    <a:gs pos="0">
                      <a:schemeClr val="accent3">
                        <a:lumMod val="50000"/>
                      </a:schemeClr>
                    </a:gs>
                    <a:gs pos="50000">
                      <a:schemeClr val="accent3">
                        <a:lumMod val="50000"/>
                      </a:schemeClr>
                    </a:gs>
                    <a:gs pos="100000">
                      <a:schemeClr val="accent3">
                        <a:lumMod val="75000"/>
                      </a:schemeClr>
                    </a:gs>
                  </a:gsLst>
                  <a:lin ang="5400000" scaled="0"/>
                </a:gradFill>
                <a:round/>
                <a:headEnd/>
                <a:tailEnd/>
              </a:ln>
            </p:spPr>
            <p:txBody>
              <a:bodyPr wrap="none" anchor="ctr"/>
              <a:lstStyle/>
              <a:p>
                <a:endParaRPr lang="en-US" sz="1350" dirty="0"/>
              </a:p>
            </p:txBody>
          </p:sp>
          <p:sp>
            <p:nvSpPr>
              <p:cNvPr id="110" name="Arc 7"/>
              <p:cNvSpPr>
                <a:spLocks/>
              </p:cNvSpPr>
              <p:nvPr/>
            </p:nvSpPr>
            <p:spPr bwMode="auto">
              <a:xfrm>
                <a:off x="1148557" y="1751499"/>
                <a:ext cx="254000" cy="445601"/>
              </a:xfrm>
              <a:custGeom>
                <a:avLst/>
                <a:gdLst>
                  <a:gd name="T0" fmla="*/ 12 w 21600"/>
                  <a:gd name="T1" fmla="*/ 0 h 21541"/>
                  <a:gd name="T2" fmla="*/ 160 w 21600"/>
                  <a:gd name="T3" fmla="*/ 239 h 21541"/>
                  <a:gd name="T4" fmla="*/ 0 w 21600"/>
                  <a:gd name="T5" fmla="*/ 239 h 21541"/>
                  <a:gd name="T6" fmla="*/ 0 60000 65536"/>
                  <a:gd name="T7" fmla="*/ 0 60000 65536"/>
                  <a:gd name="T8" fmla="*/ 0 60000 65536"/>
                  <a:gd name="T9" fmla="*/ 0 w 21600"/>
                  <a:gd name="T10" fmla="*/ 0 h 21541"/>
                  <a:gd name="T11" fmla="*/ 21600 w 21600"/>
                  <a:gd name="T12" fmla="*/ 21541 h 21541"/>
                </a:gdLst>
                <a:ahLst/>
                <a:cxnLst>
                  <a:cxn ang="T6">
                    <a:pos x="T0" y="T1"/>
                  </a:cxn>
                  <a:cxn ang="T7">
                    <a:pos x="T2" y="T3"/>
                  </a:cxn>
                  <a:cxn ang="T8">
                    <a:pos x="T4" y="T5"/>
                  </a:cxn>
                </a:cxnLst>
                <a:rect l="T9" t="T10" r="T11" b="T12"/>
                <a:pathLst>
                  <a:path w="21600" h="21541" fill="none" extrusionOk="0">
                    <a:moveTo>
                      <a:pt x="1589" y="-1"/>
                    </a:moveTo>
                    <a:cubicBezTo>
                      <a:pt x="12871" y="831"/>
                      <a:pt x="21600" y="10228"/>
                      <a:pt x="21600" y="21541"/>
                    </a:cubicBezTo>
                  </a:path>
                  <a:path w="21600" h="21541" stroke="0" extrusionOk="0">
                    <a:moveTo>
                      <a:pt x="1589" y="-1"/>
                    </a:moveTo>
                    <a:cubicBezTo>
                      <a:pt x="12871" y="831"/>
                      <a:pt x="21600" y="10228"/>
                      <a:pt x="21600" y="21541"/>
                    </a:cubicBezTo>
                    <a:lnTo>
                      <a:pt x="0" y="21541"/>
                    </a:lnTo>
                    <a:close/>
                  </a:path>
                </a:pathLst>
              </a:custGeom>
              <a:gradFill>
                <a:gsLst>
                  <a:gs pos="0">
                    <a:schemeClr val="accent3">
                      <a:lumMod val="75000"/>
                    </a:schemeClr>
                  </a:gs>
                  <a:gs pos="50000">
                    <a:schemeClr val="accent3">
                      <a:lumMod val="75000"/>
                    </a:schemeClr>
                  </a:gs>
                  <a:gs pos="100000">
                    <a:schemeClr val="accent3">
                      <a:lumMod val="75000"/>
                    </a:schemeClr>
                  </a:gs>
                </a:gsLst>
                <a:lin ang="5400000" scaled="1"/>
              </a:gradFill>
              <a:ln w="9525">
                <a:gradFill>
                  <a:gsLst>
                    <a:gs pos="0">
                      <a:schemeClr val="accent3">
                        <a:lumMod val="50000"/>
                      </a:schemeClr>
                    </a:gs>
                    <a:gs pos="50000">
                      <a:schemeClr val="accent3">
                        <a:lumMod val="50000"/>
                      </a:schemeClr>
                    </a:gs>
                    <a:gs pos="100000">
                      <a:schemeClr val="accent3">
                        <a:lumMod val="75000"/>
                      </a:schemeClr>
                    </a:gs>
                  </a:gsLst>
                  <a:lin ang="5400000" scaled="0"/>
                </a:gradFill>
                <a:round/>
                <a:headEnd/>
                <a:tailEnd/>
              </a:ln>
            </p:spPr>
            <p:txBody>
              <a:bodyPr wrap="none" anchor="ctr"/>
              <a:lstStyle/>
              <a:p>
                <a:endParaRPr lang="en-US" sz="1350" dirty="0"/>
              </a:p>
            </p:txBody>
          </p:sp>
          <p:sp>
            <p:nvSpPr>
              <p:cNvPr id="111" name="Arc 9"/>
              <p:cNvSpPr>
                <a:spLocks/>
              </p:cNvSpPr>
              <p:nvPr/>
            </p:nvSpPr>
            <p:spPr bwMode="auto">
              <a:xfrm flipH="1">
                <a:off x="1022350" y="1754980"/>
                <a:ext cx="101600" cy="437784"/>
              </a:xfrm>
              <a:custGeom>
                <a:avLst/>
                <a:gdLst>
                  <a:gd name="T0" fmla="*/ 5 w 21600"/>
                  <a:gd name="T1" fmla="*/ 0 h 21541"/>
                  <a:gd name="T2" fmla="*/ 64 w 21600"/>
                  <a:gd name="T3" fmla="*/ 239 h 21541"/>
                  <a:gd name="T4" fmla="*/ 0 w 21600"/>
                  <a:gd name="T5" fmla="*/ 239 h 21541"/>
                  <a:gd name="T6" fmla="*/ 0 60000 65536"/>
                  <a:gd name="T7" fmla="*/ 0 60000 65536"/>
                  <a:gd name="T8" fmla="*/ 0 60000 65536"/>
                  <a:gd name="T9" fmla="*/ 0 w 21600"/>
                  <a:gd name="T10" fmla="*/ 0 h 21541"/>
                  <a:gd name="T11" fmla="*/ 21600 w 21600"/>
                  <a:gd name="T12" fmla="*/ 21541 h 21541"/>
                </a:gdLst>
                <a:ahLst/>
                <a:cxnLst>
                  <a:cxn ang="T6">
                    <a:pos x="T0" y="T1"/>
                  </a:cxn>
                  <a:cxn ang="T7">
                    <a:pos x="T2" y="T3"/>
                  </a:cxn>
                  <a:cxn ang="T8">
                    <a:pos x="T4" y="T5"/>
                  </a:cxn>
                </a:cxnLst>
                <a:rect l="T9" t="T10" r="T11" b="T12"/>
                <a:pathLst>
                  <a:path w="21600" h="21541" fill="none" extrusionOk="0">
                    <a:moveTo>
                      <a:pt x="1589" y="-1"/>
                    </a:moveTo>
                    <a:cubicBezTo>
                      <a:pt x="12871" y="831"/>
                      <a:pt x="21600" y="10228"/>
                      <a:pt x="21600" y="21541"/>
                    </a:cubicBezTo>
                  </a:path>
                  <a:path w="21600" h="21541" stroke="0" extrusionOk="0">
                    <a:moveTo>
                      <a:pt x="1589" y="-1"/>
                    </a:moveTo>
                    <a:cubicBezTo>
                      <a:pt x="12871" y="831"/>
                      <a:pt x="21600" y="10228"/>
                      <a:pt x="21600" y="21541"/>
                    </a:cubicBezTo>
                    <a:lnTo>
                      <a:pt x="0" y="21541"/>
                    </a:lnTo>
                    <a:close/>
                  </a:path>
                </a:pathLst>
              </a:custGeom>
              <a:gradFill>
                <a:gsLst>
                  <a:gs pos="0">
                    <a:schemeClr val="accent3">
                      <a:lumMod val="50000"/>
                    </a:schemeClr>
                  </a:gs>
                  <a:gs pos="50000">
                    <a:schemeClr val="accent3">
                      <a:lumMod val="50000"/>
                    </a:schemeClr>
                  </a:gs>
                  <a:gs pos="100000">
                    <a:schemeClr val="accent3">
                      <a:lumMod val="75000"/>
                    </a:schemeClr>
                  </a:gs>
                </a:gsLst>
                <a:lin ang="5400000" scaled="1"/>
              </a:gradFill>
              <a:ln w="9525">
                <a:noFill/>
                <a:round/>
                <a:headEnd/>
                <a:tailEnd/>
              </a:ln>
            </p:spPr>
            <p:txBody>
              <a:bodyPr wrap="none" anchor="ctr"/>
              <a:lstStyle/>
              <a:p>
                <a:endParaRPr lang="en-US" sz="1350" dirty="0"/>
              </a:p>
            </p:txBody>
          </p:sp>
          <p:sp>
            <p:nvSpPr>
              <p:cNvPr id="112" name="Arc 10"/>
              <p:cNvSpPr>
                <a:spLocks/>
              </p:cNvSpPr>
              <p:nvPr/>
            </p:nvSpPr>
            <p:spPr bwMode="auto">
              <a:xfrm>
                <a:off x="1154113" y="1752599"/>
                <a:ext cx="101600" cy="441326"/>
              </a:xfrm>
              <a:custGeom>
                <a:avLst/>
                <a:gdLst>
                  <a:gd name="T0" fmla="*/ 5 w 21600"/>
                  <a:gd name="T1" fmla="*/ 0 h 21541"/>
                  <a:gd name="T2" fmla="*/ 64 w 21600"/>
                  <a:gd name="T3" fmla="*/ 239 h 21541"/>
                  <a:gd name="T4" fmla="*/ 0 w 21600"/>
                  <a:gd name="T5" fmla="*/ 239 h 21541"/>
                  <a:gd name="T6" fmla="*/ 0 60000 65536"/>
                  <a:gd name="T7" fmla="*/ 0 60000 65536"/>
                  <a:gd name="T8" fmla="*/ 0 60000 65536"/>
                  <a:gd name="T9" fmla="*/ 0 w 21600"/>
                  <a:gd name="T10" fmla="*/ 0 h 21541"/>
                  <a:gd name="T11" fmla="*/ 21600 w 21600"/>
                  <a:gd name="T12" fmla="*/ 21541 h 21541"/>
                </a:gdLst>
                <a:ahLst/>
                <a:cxnLst>
                  <a:cxn ang="T6">
                    <a:pos x="T0" y="T1"/>
                  </a:cxn>
                  <a:cxn ang="T7">
                    <a:pos x="T2" y="T3"/>
                  </a:cxn>
                  <a:cxn ang="T8">
                    <a:pos x="T4" y="T5"/>
                  </a:cxn>
                </a:cxnLst>
                <a:rect l="T9" t="T10" r="T11" b="T12"/>
                <a:pathLst>
                  <a:path w="21600" h="21541" fill="none" extrusionOk="0">
                    <a:moveTo>
                      <a:pt x="1589" y="-1"/>
                    </a:moveTo>
                    <a:cubicBezTo>
                      <a:pt x="12871" y="831"/>
                      <a:pt x="21600" y="10228"/>
                      <a:pt x="21600" y="21541"/>
                    </a:cubicBezTo>
                  </a:path>
                  <a:path w="21600" h="21541" stroke="0" extrusionOk="0">
                    <a:moveTo>
                      <a:pt x="1589" y="-1"/>
                    </a:moveTo>
                    <a:cubicBezTo>
                      <a:pt x="12871" y="831"/>
                      <a:pt x="21600" y="10228"/>
                      <a:pt x="21600" y="21541"/>
                    </a:cubicBezTo>
                    <a:lnTo>
                      <a:pt x="0" y="21541"/>
                    </a:lnTo>
                    <a:close/>
                  </a:path>
                </a:pathLst>
              </a:custGeom>
              <a:gradFill>
                <a:gsLst>
                  <a:gs pos="0">
                    <a:schemeClr val="accent3">
                      <a:lumMod val="50000"/>
                    </a:schemeClr>
                  </a:gs>
                  <a:gs pos="50000">
                    <a:schemeClr val="accent3">
                      <a:lumMod val="75000"/>
                    </a:schemeClr>
                  </a:gs>
                  <a:gs pos="100000">
                    <a:schemeClr val="accent3">
                      <a:lumMod val="75000"/>
                    </a:schemeClr>
                  </a:gs>
                </a:gsLst>
                <a:lin ang="5400000" scaled="1"/>
              </a:gradFill>
              <a:ln w="9525">
                <a:noFill/>
                <a:round/>
                <a:headEnd/>
                <a:tailEnd/>
              </a:ln>
            </p:spPr>
            <p:txBody>
              <a:bodyPr wrap="none" anchor="ctr"/>
              <a:lstStyle/>
              <a:p>
                <a:endParaRPr lang="en-US" sz="1350" dirty="0"/>
              </a:p>
            </p:txBody>
          </p:sp>
          <p:sp>
            <p:nvSpPr>
              <p:cNvPr id="113" name="Line 11"/>
              <p:cNvSpPr>
                <a:spLocks noChangeShapeType="1"/>
              </p:cNvSpPr>
              <p:nvPr/>
            </p:nvSpPr>
            <p:spPr bwMode="auto">
              <a:xfrm>
                <a:off x="1157285" y="1749424"/>
                <a:ext cx="0" cy="450851"/>
              </a:xfrm>
              <a:prstGeom prst="line">
                <a:avLst/>
              </a:prstGeom>
              <a:noFill/>
              <a:ln w="9525">
                <a:noFill/>
                <a:round/>
                <a:headEnd/>
                <a:tailEnd/>
              </a:ln>
            </p:spPr>
            <p:txBody>
              <a:bodyPr wrap="none" anchor="ctr"/>
              <a:lstStyle/>
              <a:p>
                <a:endParaRPr lang="en-US" sz="1350" dirty="0"/>
              </a:p>
            </p:txBody>
          </p:sp>
        </p:grpSp>
      </p:grpSp>
      <p:sp>
        <p:nvSpPr>
          <p:cNvPr id="155" name="TextBox 154"/>
          <p:cNvSpPr txBox="1"/>
          <p:nvPr/>
        </p:nvSpPr>
        <p:spPr>
          <a:xfrm>
            <a:off x="1387494" y="1898046"/>
            <a:ext cx="806632" cy="276999"/>
          </a:xfrm>
          <a:prstGeom prst="rect">
            <a:avLst/>
          </a:prstGeom>
          <a:noFill/>
        </p:spPr>
        <p:txBody>
          <a:bodyPr wrap="none" rtlCol="0">
            <a:spAutoFit/>
          </a:bodyPr>
          <a:lstStyle/>
          <a:p>
            <a:pPr algn="ctr"/>
            <a:r>
              <a:rPr lang="en-US" sz="1200" dirty="0"/>
              <a:t>Business</a:t>
            </a:r>
          </a:p>
        </p:txBody>
      </p:sp>
      <p:sp>
        <p:nvSpPr>
          <p:cNvPr id="156" name="TextBox 155"/>
          <p:cNvSpPr txBox="1"/>
          <p:nvPr/>
        </p:nvSpPr>
        <p:spPr>
          <a:xfrm>
            <a:off x="2203097" y="1898046"/>
            <a:ext cx="756938" cy="461665"/>
          </a:xfrm>
          <a:prstGeom prst="rect">
            <a:avLst/>
          </a:prstGeom>
          <a:noFill/>
        </p:spPr>
        <p:txBody>
          <a:bodyPr wrap="none" rtlCol="0">
            <a:spAutoFit/>
          </a:bodyPr>
          <a:lstStyle/>
          <a:p>
            <a:pPr algn="ctr"/>
            <a:r>
              <a:rPr lang="en-US" sz="1200" dirty="0"/>
              <a:t>Product </a:t>
            </a:r>
            <a:br>
              <a:rPr lang="en-US" sz="1200" dirty="0"/>
            </a:br>
            <a:r>
              <a:rPr lang="en-US" sz="1200" dirty="0"/>
              <a:t>Mgmt</a:t>
            </a:r>
          </a:p>
        </p:txBody>
      </p:sp>
      <p:sp>
        <p:nvSpPr>
          <p:cNvPr id="158" name="TextBox 157"/>
          <p:cNvSpPr txBox="1"/>
          <p:nvPr/>
        </p:nvSpPr>
        <p:spPr>
          <a:xfrm>
            <a:off x="4676730" y="1898046"/>
            <a:ext cx="848309" cy="276999"/>
          </a:xfrm>
          <a:prstGeom prst="rect">
            <a:avLst/>
          </a:prstGeom>
          <a:noFill/>
        </p:spPr>
        <p:txBody>
          <a:bodyPr wrap="none" rtlCol="0">
            <a:spAutoFit/>
          </a:bodyPr>
          <a:lstStyle/>
          <a:p>
            <a:pPr algn="ctr"/>
            <a:r>
              <a:rPr lang="en-US" sz="1200" dirty="0"/>
              <a:t>Hardware</a:t>
            </a:r>
          </a:p>
        </p:txBody>
      </p:sp>
      <p:sp>
        <p:nvSpPr>
          <p:cNvPr id="159" name="TextBox 158"/>
          <p:cNvSpPr txBox="1"/>
          <p:nvPr/>
        </p:nvSpPr>
        <p:spPr>
          <a:xfrm>
            <a:off x="5482869" y="1898046"/>
            <a:ext cx="790601" cy="276999"/>
          </a:xfrm>
          <a:prstGeom prst="rect">
            <a:avLst/>
          </a:prstGeom>
          <a:noFill/>
        </p:spPr>
        <p:txBody>
          <a:bodyPr wrap="none" rtlCol="0">
            <a:spAutoFit/>
          </a:bodyPr>
          <a:lstStyle/>
          <a:p>
            <a:pPr algn="ctr"/>
            <a:r>
              <a:rPr lang="en-US" sz="1200" dirty="0"/>
              <a:t>Software</a:t>
            </a:r>
          </a:p>
        </p:txBody>
      </p:sp>
      <p:sp>
        <p:nvSpPr>
          <p:cNvPr id="160" name="TextBox 159"/>
          <p:cNvSpPr txBox="1"/>
          <p:nvPr/>
        </p:nvSpPr>
        <p:spPr>
          <a:xfrm>
            <a:off x="6299652" y="1898046"/>
            <a:ext cx="671081" cy="276999"/>
          </a:xfrm>
          <a:prstGeom prst="rect">
            <a:avLst/>
          </a:prstGeom>
          <a:noFill/>
        </p:spPr>
        <p:txBody>
          <a:bodyPr wrap="none" rtlCol="0">
            <a:spAutoFit/>
          </a:bodyPr>
          <a:lstStyle/>
          <a:p>
            <a:pPr algn="ctr"/>
            <a:r>
              <a:rPr lang="en-US" sz="1200" dirty="0"/>
              <a:t>Testing</a:t>
            </a:r>
          </a:p>
        </p:txBody>
      </p:sp>
      <p:sp>
        <p:nvSpPr>
          <p:cNvPr id="161" name="TextBox 160"/>
          <p:cNvSpPr txBox="1"/>
          <p:nvPr/>
        </p:nvSpPr>
        <p:spPr>
          <a:xfrm>
            <a:off x="2936062" y="2600548"/>
            <a:ext cx="3201582" cy="300082"/>
          </a:xfrm>
          <a:prstGeom prst="rect">
            <a:avLst/>
          </a:prstGeom>
          <a:noFill/>
        </p:spPr>
        <p:txBody>
          <a:bodyPr wrap="none" rtlCol="0">
            <a:spAutoFit/>
          </a:bodyPr>
          <a:lstStyle/>
          <a:p>
            <a:pPr algn="l"/>
            <a:r>
              <a:rPr lang="en-US" sz="1350" spc="450" dirty="0"/>
              <a:t>AGILE RELEASE TRAIN</a:t>
            </a:r>
          </a:p>
        </p:txBody>
      </p:sp>
      <p:sp>
        <p:nvSpPr>
          <p:cNvPr id="173" name="Down Arrow 35"/>
          <p:cNvSpPr/>
          <p:nvPr/>
        </p:nvSpPr>
        <p:spPr bwMode="auto">
          <a:xfrm>
            <a:off x="4009489" y="1478039"/>
            <a:ext cx="1109609" cy="1115930"/>
          </a:xfrm>
          <a:custGeom>
            <a:avLst/>
            <a:gdLst>
              <a:gd name="connsiteX0" fmla="*/ 0 w 2243283"/>
              <a:gd name="connsiteY0" fmla="*/ 500063 h 1000126"/>
              <a:gd name="connsiteX1" fmla="*/ 560821 w 2243283"/>
              <a:gd name="connsiteY1" fmla="*/ 500063 h 1000126"/>
              <a:gd name="connsiteX2" fmla="*/ 560821 w 2243283"/>
              <a:gd name="connsiteY2" fmla="*/ 0 h 1000126"/>
              <a:gd name="connsiteX3" fmla="*/ 1682462 w 2243283"/>
              <a:gd name="connsiteY3" fmla="*/ 0 h 1000126"/>
              <a:gd name="connsiteX4" fmla="*/ 1682462 w 2243283"/>
              <a:gd name="connsiteY4" fmla="*/ 500063 h 1000126"/>
              <a:gd name="connsiteX5" fmla="*/ 2243283 w 2243283"/>
              <a:gd name="connsiteY5" fmla="*/ 500063 h 1000126"/>
              <a:gd name="connsiteX6" fmla="*/ 1121642 w 2243283"/>
              <a:gd name="connsiteY6" fmla="*/ 1000126 h 1000126"/>
              <a:gd name="connsiteX7" fmla="*/ 0 w 2243283"/>
              <a:gd name="connsiteY7" fmla="*/ 500063 h 1000126"/>
              <a:gd name="connsiteX0" fmla="*/ 0 w 2243283"/>
              <a:gd name="connsiteY0" fmla="*/ 1500188 h 2000251"/>
              <a:gd name="connsiteX1" fmla="*/ 560821 w 2243283"/>
              <a:gd name="connsiteY1" fmla="*/ 1500188 h 2000251"/>
              <a:gd name="connsiteX2" fmla="*/ 1039453 w 2243283"/>
              <a:gd name="connsiteY2" fmla="*/ 0 h 2000251"/>
              <a:gd name="connsiteX3" fmla="*/ 1682462 w 2243283"/>
              <a:gd name="connsiteY3" fmla="*/ 1000125 h 2000251"/>
              <a:gd name="connsiteX4" fmla="*/ 1682462 w 2243283"/>
              <a:gd name="connsiteY4" fmla="*/ 1500188 h 2000251"/>
              <a:gd name="connsiteX5" fmla="*/ 2243283 w 2243283"/>
              <a:gd name="connsiteY5" fmla="*/ 1500188 h 2000251"/>
              <a:gd name="connsiteX6" fmla="*/ 1121642 w 2243283"/>
              <a:gd name="connsiteY6" fmla="*/ 2000251 h 2000251"/>
              <a:gd name="connsiteX7" fmla="*/ 0 w 2243283"/>
              <a:gd name="connsiteY7" fmla="*/ 1500188 h 2000251"/>
              <a:gd name="connsiteX0" fmla="*/ 0 w 2243283"/>
              <a:gd name="connsiteY0" fmla="*/ 1500188 h 2000251"/>
              <a:gd name="connsiteX1" fmla="*/ 560821 w 2243283"/>
              <a:gd name="connsiteY1" fmla="*/ 1500188 h 2000251"/>
              <a:gd name="connsiteX2" fmla="*/ 1039453 w 2243283"/>
              <a:gd name="connsiteY2" fmla="*/ 0 h 2000251"/>
              <a:gd name="connsiteX3" fmla="*/ 1146681 w 2243283"/>
              <a:gd name="connsiteY3" fmla="*/ 14287 h 2000251"/>
              <a:gd name="connsiteX4" fmla="*/ 1682462 w 2243283"/>
              <a:gd name="connsiteY4" fmla="*/ 1500188 h 2000251"/>
              <a:gd name="connsiteX5" fmla="*/ 2243283 w 2243283"/>
              <a:gd name="connsiteY5" fmla="*/ 1500188 h 2000251"/>
              <a:gd name="connsiteX6" fmla="*/ 1121642 w 2243283"/>
              <a:gd name="connsiteY6" fmla="*/ 2000251 h 2000251"/>
              <a:gd name="connsiteX7" fmla="*/ 0 w 2243283"/>
              <a:gd name="connsiteY7" fmla="*/ 1500188 h 2000251"/>
              <a:gd name="connsiteX0" fmla="*/ 0 w 2243283"/>
              <a:gd name="connsiteY0" fmla="*/ 1500188 h 2000251"/>
              <a:gd name="connsiteX1" fmla="*/ 796565 w 2243283"/>
              <a:gd name="connsiteY1" fmla="*/ 1500188 h 2000251"/>
              <a:gd name="connsiteX2" fmla="*/ 1039453 w 2243283"/>
              <a:gd name="connsiteY2" fmla="*/ 0 h 2000251"/>
              <a:gd name="connsiteX3" fmla="*/ 1146681 w 2243283"/>
              <a:gd name="connsiteY3" fmla="*/ 14287 h 2000251"/>
              <a:gd name="connsiteX4" fmla="*/ 1682462 w 2243283"/>
              <a:gd name="connsiteY4" fmla="*/ 1500188 h 2000251"/>
              <a:gd name="connsiteX5" fmla="*/ 2243283 w 2243283"/>
              <a:gd name="connsiteY5" fmla="*/ 1500188 h 2000251"/>
              <a:gd name="connsiteX6" fmla="*/ 1121642 w 2243283"/>
              <a:gd name="connsiteY6" fmla="*/ 2000251 h 2000251"/>
              <a:gd name="connsiteX7" fmla="*/ 0 w 2243283"/>
              <a:gd name="connsiteY7" fmla="*/ 1500188 h 2000251"/>
              <a:gd name="connsiteX0" fmla="*/ 0 w 2243283"/>
              <a:gd name="connsiteY0" fmla="*/ 1500188 h 2000251"/>
              <a:gd name="connsiteX1" fmla="*/ 796565 w 2243283"/>
              <a:gd name="connsiteY1" fmla="*/ 1500188 h 2000251"/>
              <a:gd name="connsiteX2" fmla="*/ 1039453 w 2243283"/>
              <a:gd name="connsiteY2" fmla="*/ 0 h 2000251"/>
              <a:gd name="connsiteX3" fmla="*/ 1146681 w 2243283"/>
              <a:gd name="connsiteY3" fmla="*/ 14287 h 2000251"/>
              <a:gd name="connsiteX4" fmla="*/ 1396712 w 2243283"/>
              <a:gd name="connsiteY4" fmla="*/ 1500188 h 2000251"/>
              <a:gd name="connsiteX5" fmla="*/ 2243283 w 2243283"/>
              <a:gd name="connsiteY5" fmla="*/ 1500188 h 2000251"/>
              <a:gd name="connsiteX6" fmla="*/ 1121642 w 2243283"/>
              <a:gd name="connsiteY6" fmla="*/ 2000251 h 2000251"/>
              <a:gd name="connsiteX7" fmla="*/ 0 w 2243283"/>
              <a:gd name="connsiteY7" fmla="*/ 1500188 h 2000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43283" h="2000251">
                <a:moveTo>
                  <a:pt x="0" y="1500188"/>
                </a:moveTo>
                <a:lnTo>
                  <a:pt x="796565" y="1500188"/>
                </a:lnTo>
                <a:lnTo>
                  <a:pt x="1039453" y="0"/>
                </a:lnTo>
                <a:lnTo>
                  <a:pt x="1146681" y="14287"/>
                </a:lnTo>
                <a:lnTo>
                  <a:pt x="1396712" y="1500188"/>
                </a:lnTo>
                <a:lnTo>
                  <a:pt x="2243283" y="1500188"/>
                </a:lnTo>
                <a:lnTo>
                  <a:pt x="1121642" y="2000251"/>
                </a:lnTo>
                <a:lnTo>
                  <a:pt x="0" y="1500188"/>
                </a:lnTo>
                <a:close/>
              </a:path>
            </a:pathLst>
          </a:custGeom>
          <a:solidFill>
            <a:schemeClr val="bg1">
              <a:lumMod val="65000"/>
            </a:schemeClr>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pic>
        <p:nvPicPr>
          <p:cNvPr id="86" name="Picture 85"/>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246468" y="3399702"/>
            <a:ext cx="781733" cy="478612"/>
          </a:xfrm>
          <a:prstGeom prst="rect">
            <a:avLst/>
          </a:prstGeom>
        </p:spPr>
      </p:pic>
      <p:pic>
        <p:nvPicPr>
          <p:cNvPr id="174" name="Picture 173"/>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833099" y="2899121"/>
            <a:ext cx="482102" cy="524024"/>
          </a:xfrm>
          <a:prstGeom prst="rect">
            <a:avLst/>
          </a:prstGeom>
          <a:effectLst/>
        </p:spPr>
      </p:pic>
      <p:sp>
        <p:nvSpPr>
          <p:cNvPr id="183" name="TextBox 182"/>
          <p:cNvSpPr txBox="1"/>
          <p:nvPr/>
        </p:nvSpPr>
        <p:spPr>
          <a:xfrm>
            <a:off x="3714276" y="1898046"/>
            <a:ext cx="772969" cy="276999"/>
          </a:xfrm>
          <a:prstGeom prst="rect">
            <a:avLst/>
          </a:prstGeom>
          <a:noFill/>
        </p:spPr>
        <p:txBody>
          <a:bodyPr wrap="none" rtlCol="0">
            <a:spAutoFit/>
          </a:bodyPr>
          <a:lstStyle/>
          <a:p>
            <a:pPr algn="ctr"/>
            <a:r>
              <a:rPr lang="en-US" sz="1200" dirty="0"/>
              <a:t>Program</a:t>
            </a:r>
          </a:p>
        </p:txBody>
      </p:sp>
      <p:pic>
        <p:nvPicPr>
          <p:cNvPr id="197" name="Picture 196"/>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2331996" y="2971463"/>
            <a:ext cx="311035" cy="444335"/>
          </a:xfrm>
          <a:prstGeom prst="rect">
            <a:avLst/>
          </a:prstGeom>
        </p:spPr>
      </p:pic>
      <p:pic>
        <p:nvPicPr>
          <p:cNvPr id="198" name="Picture 197"/>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2918406" y="3218568"/>
            <a:ext cx="261196" cy="348262"/>
          </a:xfrm>
          <a:prstGeom prst="rect">
            <a:avLst/>
          </a:prstGeom>
        </p:spPr>
      </p:pic>
      <p:pic>
        <p:nvPicPr>
          <p:cNvPr id="172" name="Picture 171"/>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734868" y="3989670"/>
            <a:ext cx="781733" cy="478612"/>
          </a:xfrm>
          <a:prstGeom prst="rect">
            <a:avLst/>
          </a:prstGeom>
        </p:spPr>
      </p:pic>
      <p:pic>
        <p:nvPicPr>
          <p:cNvPr id="185" name="Picture 184"/>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637118" y="3313977"/>
            <a:ext cx="781733" cy="478612"/>
          </a:xfrm>
          <a:prstGeom prst="rect">
            <a:avLst/>
          </a:prstGeom>
        </p:spPr>
      </p:pic>
      <p:pic>
        <p:nvPicPr>
          <p:cNvPr id="3" name="Picture 2" descr="RTE.png"/>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3565308" y="3419113"/>
            <a:ext cx="276307" cy="406685"/>
          </a:xfrm>
          <a:prstGeom prst="rect">
            <a:avLst/>
          </a:prstGeom>
        </p:spPr>
      </p:pic>
      <p:pic>
        <p:nvPicPr>
          <p:cNvPr id="154" name="Picture 153" descr="Program-Agile-Release-Train-NoLabel.png"/>
          <p:cNvPicPr>
            <a:picLocks/>
          </p:cNvPicPr>
          <p:nvPr/>
        </p:nvPicPr>
        <p:blipFill rotWithShape="1">
          <a:blip r:embed="rId9" cstate="print">
            <a:extLst>
              <a:ext uri="{28A0092B-C50C-407E-A947-70E740481C1C}">
                <a14:useLocalDpi xmlns:a14="http://schemas.microsoft.com/office/drawing/2010/main"/>
              </a:ext>
            </a:extLst>
          </a:blip>
          <a:srcRect/>
          <a:stretch/>
        </p:blipFill>
        <p:spPr>
          <a:xfrm>
            <a:off x="1381126" y="1309148"/>
            <a:ext cx="6406136" cy="342900"/>
          </a:xfrm>
          <a:prstGeom prst="rect">
            <a:avLst/>
          </a:prstGeom>
        </p:spPr>
      </p:pic>
      <p:sp>
        <p:nvSpPr>
          <p:cNvPr id="196" name="TextBox 195"/>
          <p:cNvSpPr txBox="1"/>
          <p:nvPr/>
        </p:nvSpPr>
        <p:spPr>
          <a:xfrm>
            <a:off x="6896955" y="1898046"/>
            <a:ext cx="1008795" cy="276999"/>
          </a:xfrm>
          <a:prstGeom prst="rect">
            <a:avLst/>
          </a:prstGeom>
          <a:noFill/>
        </p:spPr>
        <p:txBody>
          <a:bodyPr wrap="square" rtlCol="0">
            <a:spAutoFit/>
          </a:bodyPr>
          <a:lstStyle/>
          <a:p>
            <a:pPr algn="r"/>
            <a:r>
              <a:rPr lang="en-US" sz="1200" dirty="0"/>
              <a:t>Deployment</a:t>
            </a:r>
          </a:p>
        </p:txBody>
      </p:sp>
      <p:sp>
        <p:nvSpPr>
          <p:cNvPr id="211" name="TextBox 210"/>
          <p:cNvSpPr txBox="1"/>
          <p:nvPr/>
        </p:nvSpPr>
        <p:spPr>
          <a:xfrm>
            <a:off x="2905359" y="1898046"/>
            <a:ext cx="800220" cy="461665"/>
          </a:xfrm>
          <a:prstGeom prst="rect">
            <a:avLst/>
          </a:prstGeom>
          <a:noFill/>
        </p:spPr>
        <p:txBody>
          <a:bodyPr wrap="none" rtlCol="0">
            <a:spAutoFit/>
          </a:bodyPr>
          <a:lstStyle/>
          <a:p>
            <a:pPr algn="ctr"/>
            <a:r>
              <a:rPr lang="en-US" sz="1200" dirty="0"/>
              <a:t>Arch/</a:t>
            </a:r>
            <a:br>
              <a:rPr lang="en-US" sz="1200" dirty="0"/>
            </a:br>
            <a:r>
              <a:rPr lang="en-US" sz="1200" dirty="0"/>
              <a:t>Sys Eng.</a:t>
            </a:r>
          </a:p>
        </p:txBody>
      </p:sp>
      <p:pic>
        <p:nvPicPr>
          <p:cNvPr id="4" name="Picture 3" descr="Customer.png"/>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flipH="1">
            <a:off x="1749073" y="2900254"/>
            <a:ext cx="299079" cy="443371"/>
          </a:xfrm>
          <a:prstGeom prst="rect">
            <a:avLst/>
          </a:prstGeom>
        </p:spPr>
      </p:pic>
    </p:spTree>
    <p:extLst>
      <p:ext uri="{BB962C8B-B14F-4D97-AF65-F5344CB8AC3E}">
        <p14:creationId xmlns:p14="http://schemas.microsoft.com/office/powerpoint/2010/main" val="100506597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o deliver value continuously</a:t>
            </a:r>
          </a:p>
        </p:txBody>
      </p:sp>
      <p:pic>
        <p:nvPicPr>
          <p:cNvPr id="4" name="Picture 3"/>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752091" y="838193"/>
            <a:ext cx="3639846" cy="3901124"/>
          </a:xfrm>
          <a:prstGeom prst="rect">
            <a:avLst/>
          </a:prstGeom>
        </p:spPr>
      </p:pic>
      <p:pic>
        <p:nvPicPr>
          <p:cNvPr id="5" name="Picture 4"/>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391937" y="729176"/>
            <a:ext cx="4080732" cy="4010141"/>
          </a:xfrm>
          <a:prstGeom prst="rect">
            <a:avLst/>
          </a:prstGeom>
        </p:spPr>
      </p:pic>
    </p:spTree>
    <p:extLst>
      <p:ext uri="{BB962C8B-B14F-4D97-AF65-F5344CB8AC3E}">
        <p14:creationId xmlns:p14="http://schemas.microsoft.com/office/powerpoint/2010/main" val="175173838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1" y="0"/>
            <a:ext cx="9151686" cy="5143500"/>
          </a:xfrm>
          <a:prstGeom prst="rect">
            <a:avLst/>
          </a:prstGeom>
          <a:solidFill>
            <a:schemeClr val="accent1"/>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pic>
        <p:nvPicPr>
          <p:cNvPr id="2" name="Picture 1"/>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97069" y="588335"/>
            <a:ext cx="5850784" cy="3966830"/>
          </a:xfrm>
          <a:prstGeom prst="rect">
            <a:avLst/>
          </a:prstGeom>
        </p:spPr>
      </p:pic>
      <p:sp>
        <p:nvSpPr>
          <p:cNvPr id="11" name="TextBox 10"/>
          <p:cNvSpPr txBox="1"/>
          <p:nvPr/>
        </p:nvSpPr>
        <p:spPr>
          <a:xfrm>
            <a:off x="6444919" y="1531090"/>
            <a:ext cx="2251893" cy="1951816"/>
          </a:xfrm>
          <a:prstGeom prst="rect">
            <a:avLst/>
          </a:prstGeom>
          <a:noFill/>
        </p:spPr>
        <p:txBody>
          <a:bodyPr wrap="square" rtlCol="0">
            <a:spAutoFit/>
          </a:bodyPr>
          <a:lstStyle/>
          <a:p>
            <a:pPr>
              <a:lnSpc>
                <a:spcPts val="2940"/>
              </a:lnSpc>
            </a:pPr>
            <a:r>
              <a:rPr lang="en-US" sz="2200" dirty="0">
                <a:solidFill>
                  <a:schemeClr val="bg1"/>
                </a:solidFill>
              </a:rPr>
              <a:t>Digital disruption is affecting every industry across the globe.</a:t>
            </a:r>
            <a:endParaRPr lang="en-US" sz="2200" i="1" dirty="0">
              <a:solidFill>
                <a:schemeClr val="bg1"/>
              </a:solidFill>
            </a:endParaRPr>
          </a:p>
        </p:txBody>
      </p:sp>
      <p:sp>
        <p:nvSpPr>
          <p:cNvPr id="5" name="TextBox 4">
            <a:extLst>
              <a:ext uri="{FF2B5EF4-FFF2-40B4-BE49-F238E27FC236}">
                <a16:creationId xmlns:a16="http://schemas.microsoft.com/office/drawing/2014/main" id="{D078B002-DE4E-3E41-BC24-2A1ADE55D8F3}"/>
              </a:ext>
            </a:extLst>
          </p:cNvPr>
          <p:cNvSpPr txBox="1"/>
          <p:nvPr/>
        </p:nvSpPr>
        <p:spPr>
          <a:xfrm>
            <a:off x="1509160" y="4904100"/>
            <a:ext cx="1310822" cy="184666"/>
          </a:xfrm>
          <a:prstGeom prst="rect">
            <a:avLst/>
          </a:prstGeom>
          <a:solidFill>
            <a:schemeClr val="bg1">
              <a:alpha val="0"/>
            </a:schemeClr>
          </a:solidFill>
          <a:ln>
            <a:solidFill>
              <a:schemeClr val="bg1">
                <a:alpha val="0"/>
              </a:schemeClr>
            </a:solidFill>
          </a:ln>
        </p:spPr>
        <p:txBody>
          <a:bodyPr wrap="square" rtlCol="0">
            <a:spAutoFit/>
          </a:bodyPr>
          <a:lstStyle/>
          <a:p>
            <a:r>
              <a:rPr lang="en-US" sz="600" dirty="0">
                <a:solidFill>
                  <a:schemeClr val="bg1"/>
                </a:solidFill>
                <a:latin typeface="+mn-lt"/>
                <a:cs typeface="+mn-cs"/>
              </a:rPr>
              <a:t>© Scaled Agile, Inc</a:t>
            </a:r>
            <a:r>
              <a:rPr lang="en-US" sz="600">
                <a:solidFill>
                  <a:schemeClr val="bg1"/>
                </a:solidFill>
                <a:latin typeface="+mn-lt"/>
                <a:cs typeface="+mn-cs"/>
              </a:rPr>
              <a:t>. </a:t>
            </a:r>
            <a:endParaRPr lang="en-US" sz="600" dirty="0">
              <a:solidFill>
                <a:schemeClr val="bg1"/>
              </a:solidFill>
              <a:latin typeface="+mn-lt"/>
              <a:cs typeface="+mn-cs"/>
            </a:endParaRPr>
          </a:p>
        </p:txBody>
      </p:sp>
      <p:pic>
        <p:nvPicPr>
          <p:cNvPr id="6" name="Picture 5" descr="PPT-sized.png">
            <a:extLst>
              <a:ext uri="{FF2B5EF4-FFF2-40B4-BE49-F238E27FC236}">
                <a16:creationId xmlns:a16="http://schemas.microsoft.com/office/drawing/2014/main" id="{9D3C73E3-6578-2C47-A7FD-17E33F62A553}"/>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26460" y="4934417"/>
            <a:ext cx="1117600" cy="127127"/>
          </a:xfrm>
          <a:prstGeom prst="rect">
            <a:avLst/>
          </a:prstGeom>
        </p:spPr>
      </p:pic>
    </p:spTree>
    <p:extLst>
      <p:ext uri="{BB962C8B-B14F-4D97-AF65-F5344CB8AC3E}">
        <p14:creationId xmlns:p14="http://schemas.microsoft.com/office/powerpoint/2010/main" val="6607511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Synchronizing with PI Planning</a:t>
            </a:r>
            <a:endParaRPr lang="en-US" dirty="0"/>
          </a:p>
        </p:txBody>
      </p:sp>
      <p:pic>
        <p:nvPicPr>
          <p:cNvPr id="6" name="Picture 5" descr="Figure-1.-Release-Planning-Picture-1024x228.png"/>
          <p:cNvPicPr>
            <a:picLocks noChangeAspect="1"/>
          </p:cNvPicPr>
          <p:nvPr/>
        </p:nvPicPr>
        <p:blipFill rotWithShape="1">
          <a:blip r:embed="rId3" cstate="print">
            <a:extLst>
              <a:ext uri="{28A0092B-C50C-407E-A947-70E740481C1C}">
                <a14:useLocalDpi xmlns:a14="http://schemas.microsoft.com/office/drawing/2010/main"/>
              </a:ext>
            </a:extLst>
          </a:blip>
          <a:srcRect l="4217" r="4259"/>
          <a:stretch/>
        </p:blipFill>
        <p:spPr>
          <a:xfrm>
            <a:off x="1492304" y="3191604"/>
            <a:ext cx="6276127" cy="1599368"/>
          </a:xfrm>
          <a:prstGeom prst="rect">
            <a:avLst/>
          </a:prstGeom>
        </p:spPr>
      </p:pic>
      <p:sp>
        <p:nvSpPr>
          <p:cNvPr id="4" name="TextBox 3"/>
          <p:cNvSpPr txBox="1"/>
          <p:nvPr/>
        </p:nvSpPr>
        <p:spPr>
          <a:xfrm>
            <a:off x="1361675" y="1361574"/>
            <a:ext cx="6885341" cy="2406813"/>
          </a:xfrm>
          <a:prstGeom prst="rect">
            <a:avLst/>
          </a:prstGeom>
          <a:noFill/>
        </p:spPr>
        <p:txBody>
          <a:bodyPr wrap="square" rtlCol="0">
            <a:spAutoFit/>
          </a:bodyPr>
          <a:lstStyle/>
          <a:p>
            <a:pPr marL="304800" indent="-304800" fontAlgn="base">
              <a:lnSpc>
                <a:spcPct val="110000"/>
              </a:lnSpc>
              <a:spcAft>
                <a:spcPts val="450"/>
              </a:spcAft>
              <a:buClr>
                <a:schemeClr val="tx1">
                  <a:lumMod val="50000"/>
                  <a:lumOff val="50000"/>
                </a:schemeClr>
              </a:buClr>
              <a:buSzPct val="100000"/>
              <a:buFont typeface="Webdings" pitchFamily="18" charset="2"/>
              <a:buChar char="4"/>
              <a:defRPr/>
            </a:pPr>
            <a:r>
              <a:rPr lang="en-IN" sz="1600" dirty="0">
                <a:solidFill>
                  <a:srgbClr val="3C3C3C"/>
                </a:solidFill>
              </a:rPr>
              <a:t>All stakeholders face-to-face (but typically multiple locations) </a:t>
            </a:r>
          </a:p>
          <a:p>
            <a:pPr marL="304800" indent="-304800" fontAlgn="base">
              <a:lnSpc>
                <a:spcPct val="110000"/>
              </a:lnSpc>
              <a:spcAft>
                <a:spcPts val="450"/>
              </a:spcAft>
              <a:buClr>
                <a:schemeClr val="tx1">
                  <a:lumMod val="50000"/>
                  <a:lumOff val="50000"/>
                </a:schemeClr>
              </a:buClr>
              <a:buSzPct val="100000"/>
              <a:buFont typeface="Webdings" pitchFamily="18" charset="2"/>
              <a:buChar char="4"/>
              <a:defRPr/>
            </a:pPr>
            <a:r>
              <a:rPr lang="en-IN" sz="1600" dirty="0">
                <a:solidFill>
                  <a:srgbClr val="3C3C3C"/>
                </a:solidFill>
              </a:rPr>
              <a:t>Management sets the mission, with minimum possible constraints</a:t>
            </a:r>
          </a:p>
          <a:p>
            <a:pPr marL="304800" indent="-304800" fontAlgn="base">
              <a:lnSpc>
                <a:spcPct val="110000"/>
              </a:lnSpc>
              <a:spcAft>
                <a:spcPts val="450"/>
              </a:spcAft>
              <a:buClr>
                <a:schemeClr val="tx1">
                  <a:lumMod val="50000"/>
                  <a:lumOff val="50000"/>
                </a:schemeClr>
              </a:buClr>
              <a:buSzPct val="100000"/>
              <a:buFont typeface="Webdings" pitchFamily="18" charset="2"/>
              <a:buChar char="4"/>
              <a:defRPr/>
            </a:pPr>
            <a:r>
              <a:rPr lang="en-IN" sz="1600" dirty="0"/>
              <a:t>Requirements and design emerge</a:t>
            </a:r>
          </a:p>
          <a:p>
            <a:pPr marL="304800" indent="-304800" fontAlgn="base">
              <a:lnSpc>
                <a:spcPct val="110000"/>
              </a:lnSpc>
              <a:spcAft>
                <a:spcPts val="450"/>
              </a:spcAft>
              <a:buClr>
                <a:schemeClr val="tx1">
                  <a:lumMod val="50000"/>
                  <a:lumOff val="50000"/>
                </a:schemeClr>
              </a:buClr>
              <a:buSzPct val="100000"/>
              <a:buFont typeface="Webdings" pitchFamily="18" charset="2"/>
              <a:buChar char="4"/>
              <a:defRPr/>
            </a:pPr>
            <a:r>
              <a:rPr lang="en-IN" sz="1600" dirty="0"/>
              <a:t>Important stakeholder decisions are accelerated</a:t>
            </a:r>
          </a:p>
          <a:p>
            <a:pPr marL="304800" indent="-304800" fontAlgn="base">
              <a:lnSpc>
                <a:spcPct val="110000"/>
              </a:lnSpc>
              <a:spcAft>
                <a:spcPts val="450"/>
              </a:spcAft>
              <a:buClr>
                <a:schemeClr val="tx1">
                  <a:lumMod val="50000"/>
                  <a:lumOff val="50000"/>
                </a:schemeClr>
              </a:buClr>
              <a:buSzPct val="100000"/>
              <a:buFont typeface="Webdings" pitchFamily="18" charset="2"/>
              <a:buChar char="4"/>
              <a:defRPr/>
            </a:pPr>
            <a:r>
              <a:rPr lang="en-IN" sz="1600" dirty="0"/>
              <a:t>Teams create—and take responsibility for—plans</a:t>
            </a:r>
            <a:endParaRPr lang="en-US" sz="1600" dirty="0"/>
          </a:p>
          <a:p>
            <a:pPr marL="304800" indent="-304800" fontAlgn="base">
              <a:lnSpc>
                <a:spcPct val="110000"/>
              </a:lnSpc>
              <a:spcAft>
                <a:spcPts val="450"/>
              </a:spcAft>
              <a:buClr>
                <a:schemeClr val="tx1">
                  <a:lumMod val="50000"/>
                  <a:lumOff val="50000"/>
                </a:schemeClr>
              </a:buClr>
              <a:buSzPct val="100000"/>
              <a:buFont typeface="Webdings" pitchFamily="18" charset="2"/>
              <a:buChar char="4"/>
              <a:defRPr/>
            </a:pPr>
            <a:endParaRPr lang="en-IN" dirty="0">
              <a:solidFill>
                <a:srgbClr val="3C3C3C"/>
              </a:solidFill>
            </a:endParaRPr>
          </a:p>
          <a:p>
            <a:pPr marL="304800" indent="-304800" fontAlgn="base">
              <a:lnSpc>
                <a:spcPct val="110000"/>
              </a:lnSpc>
              <a:spcAft>
                <a:spcPts val="450"/>
              </a:spcAft>
              <a:buClr>
                <a:schemeClr val="tx1">
                  <a:lumMod val="50000"/>
                  <a:lumOff val="50000"/>
                </a:schemeClr>
              </a:buClr>
              <a:buSzPct val="100000"/>
              <a:buFont typeface="Webdings" pitchFamily="18" charset="2"/>
              <a:buChar char="4"/>
              <a:defRPr/>
            </a:pPr>
            <a:endParaRPr lang="en-US" sz="1600" dirty="0">
              <a:solidFill>
                <a:srgbClr val="3C3C3C"/>
              </a:solidFill>
            </a:endParaRPr>
          </a:p>
        </p:txBody>
      </p:sp>
      <p:sp>
        <p:nvSpPr>
          <p:cNvPr id="5" name="TextBox 4"/>
          <p:cNvSpPr txBox="1"/>
          <p:nvPr/>
        </p:nvSpPr>
        <p:spPr>
          <a:xfrm>
            <a:off x="407103" y="750377"/>
            <a:ext cx="8667228" cy="532453"/>
          </a:xfrm>
          <a:prstGeom prst="rect">
            <a:avLst/>
          </a:prstGeom>
          <a:noFill/>
        </p:spPr>
        <p:txBody>
          <a:bodyPr wrap="square" rtlCol="0">
            <a:spAutoFit/>
          </a:bodyPr>
          <a:lstStyle/>
          <a:p>
            <a:pPr>
              <a:lnSpc>
                <a:spcPct val="110000"/>
              </a:lnSpc>
            </a:pPr>
            <a:r>
              <a:rPr lang="en-IN" sz="1300" i="1" dirty="0">
                <a:solidFill>
                  <a:srgbClr val="E05E0D"/>
                </a:solidFill>
              </a:rPr>
              <a:t>Future product development tasks can’t be pre-determined. Distribute planning and control to those who can understand and react to the end results.    </a:t>
            </a:r>
            <a:r>
              <a:rPr lang="en-US" sz="1300" i="1" dirty="0">
                <a:solidFill>
                  <a:srgbClr val="E05E0D"/>
                </a:solidFill>
              </a:rPr>
              <a:t>—</a:t>
            </a:r>
            <a:r>
              <a:rPr lang="en-IN" sz="1300" i="1" dirty="0">
                <a:solidFill>
                  <a:srgbClr val="E05E0D"/>
                </a:solidFill>
              </a:rPr>
              <a:t>Michael Kennedy, Product Development for the Lean Enterprise</a:t>
            </a:r>
          </a:p>
        </p:txBody>
      </p:sp>
      <p:sp>
        <p:nvSpPr>
          <p:cNvPr id="3" name="Rectangle 2"/>
          <p:cNvSpPr/>
          <p:nvPr/>
        </p:nvSpPr>
        <p:spPr>
          <a:xfrm>
            <a:off x="1492304" y="4551928"/>
            <a:ext cx="6276127" cy="230832"/>
          </a:xfrm>
          <a:prstGeom prst="rect">
            <a:avLst/>
          </a:prstGeom>
          <a:solidFill>
            <a:srgbClr val="000000">
              <a:alpha val="63922"/>
            </a:srgbClr>
          </a:solidFill>
        </p:spPr>
        <p:txBody>
          <a:bodyPr wrap="square">
            <a:spAutoFit/>
          </a:bodyPr>
          <a:lstStyle/>
          <a:p>
            <a:endParaRPr lang="en-US" sz="900" dirty="0"/>
          </a:p>
        </p:txBody>
      </p:sp>
      <p:sp>
        <p:nvSpPr>
          <p:cNvPr id="9" name="Rectangle 8"/>
          <p:cNvSpPr/>
          <p:nvPr/>
        </p:nvSpPr>
        <p:spPr>
          <a:xfrm>
            <a:off x="1916112" y="4543716"/>
            <a:ext cx="5428509" cy="230832"/>
          </a:xfrm>
          <a:prstGeom prst="rect">
            <a:avLst/>
          </a:prstGeom>
          <a:noFill/>
        </p:spPr>
        <p:txBody>
          <a:bodyPr wrap="square">
            <a:spAutoFit/>
          </a:bodyPr>
          <a:lstStyle/>
          <a:p>
            <a:pPr algn="ctr"/>
            <a:r>
              <a:rPr lang="en-US" sz="900" b="1" dirty="0">
                <a:solidFill>
                  <a:schemeClr val="bg1"/>
                </a:solidFill>
              </a:rPr>
              <a:t>For a short video PI planning example, see: https://</a:t>
            </a:r>
            <a:r>
              <a:rPr lang="en-US" sz="900" b="1" dirty="0" err="1">
                <a:solidFill>
                  <a:schemeClr val="bg1"/>
                </a:solidFill>
              </a:rPr>
              <a:t>youtu.be</a:t>
            </a:r>
            <a:r>
              <a:rPr lang="en-US" sz="900" b="1" dirty="0">
                <a:solidFill>
                  <a:schemeClr val="bg1"/>
                </a:solidFill>
              </a:rPr>
              <a:t>/ZZAtl7nAB1M</a:t>
            </a:r>
          </a:p>
        </p:txBody>
      </p:sp>
    </p:spTree>
    <p:extLst>
      <p:ext uri="{BB962C8B-B14F-4D97-AF65-F5344CB8AC3E}">
        <p14:creationId xmlns:p14="http://schemas.microsoft.com/office/powerpoint/2010/main" val="24652397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35536758"/>
              </p:ext>
            </p:extLst>
          </p:nvPr>
        </p:nvGraphicFramePr>
        <p:xfrm>
          <a:off x="1144192" y="1192"/>
          <a:ext cx="1190" cy="1190"/>
        </p:xfrm>
        <a:graphic>
          <a:graphicData uri="http://schemas.openxmlformats.org/presentationml/2006/ole">
            <mc:AlternateContent xmlns:mc="http://schemas.openxmlformats.org/markup-compatibility/2006">
              <mc:Choice xmlns:v="urn:schemas-microsoft-com:vml" Requires="v">
                <p:oleObj spid="_x0000_s2396"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44192" y="1192"/>
                        <a:ext cx="1190" cy="119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itle 2"/>
          <p:cNvSpPr>
            <a:spLocks noGrp="1"/>
          </p:cNvSpPr>
          <p:nvPr>
            <p:ph type="title"/>
            <p:custDataLst>
              <p:tags r:id="rId3"/>
            </p:custDataLst>
          </p:nvPr>
        </p:nvSpPr>
        <p:spPr/>
        <p:txBody>
          <a:bodyPr/>
          <a:lstStyle/>
          <a:p>
            <a:r>
              <a:rPr lang="en-US" altLang="en-US" dirty="0">
                <a:latin typeface="Arial"/>
                <a:cs typeface="Arial"/>
              </a:rPr>
              <a:t>Demonstrating the full system every two weeks</a:t>
            </a:r>
            <a:endParaRPr lang="en-US" dirty="0">
              <a:latin typeface="Arial"/>
              <a:cs typeface="Arial"/>
            </a:endParaRPr>
          </a:p>
        </p:txBody>
      </p:sp>
      <p:sp>
        <p:nvSpPr>
          <p:cNvPr id="4" name="Content Placeholder 3"/>
          <p:cNvSpPr>
            <a:spLocks noGrp="1"/>
          </p:cNvSpPr>
          <p:nvPr>
            <p:ph idx="1"/>
            <p:custDataLst>
              <p:tags r:id="rId4"/>
            </p:custDataLst>
          </p:nvPr>
        </p:nvSpPr>
        <p:spPr>
          <a:xfrm>
            <a:off x="4406889" y="1072332"/>
            <a:ext cx="4175805" cy="2236766"/>
          </a:xfrm>
        </p:spPr>
        <p:txBody>
          <a:bodyPr/>
          <a:lstStyle/>
          <a:p>
            <a:pPr indent="-222647">
              <a:spcBef>
                <a:spcPts val="600"/>
              </a:spcBef>
              <a:spcAft>
                <a:spcPts val="600"/>
              </a:spcAft>
            </a:pPr>
            <a:r>
              <a:rPr lang="en-US" sz="1800" dirty="0">
                <a:latin typeface="Arial"/>
                <a:cs typeface="Arial"/>
              </a:rPr>
              <a:t>An integrated solution demo</a:t>
            </a:r>
          </a:p>
          <a:p>
            <a:pPr indent="-222647">
              <a:spcBef>
                <a:spcPts val="600"/>
              </a:spcBef>
              <a:spcAft>
                <a:spcPts val="600"/>
              </a:spcAft>
            </a:pPr>
            <a:r>
              <a:rPr lang="en-US" sz="1800" dirty="0"/>
              <a:t>Objective milestone</a:t>
            </a:r>
          </a:p>
          <a:p>
            <a:pPr indent="-222647">
              <a:spcBef>
                <a:spcPts val="600"/>
              </a:spcBef>
              <a:spcAft>
                <a:spcPts val="600"/>
              </a:spcAft>
            </a:pPr>
            <a:r>
              <a:rPr lang="en-US" sz="1800" dirty="0"/>
              <a:t>Demo from the staging environment, or the nearest proxy</a:t>
            </a:r>
            <a:endParaRPr lang="en-US" sz="1800" dirty="0">
              <a:latin typeface="Arial"/>
              <a:cs typeface="Arial"/>
            </a:endParaRPr>
          </a:p>
        </p:txBody>
      </p:sp>
      <p:pic>
        <p:nvPicPr>
          <p:cNvPr id="40" name="Picture 39"/>
          <p:cNvPicPr>
            <a:picLocks noChangeAspect="1" noChangeArrowheads="1"/>
          </p:cNvPicPr>
          <p:nvPr/>
        </p:nvPicPr>
        <p:blipFill rotWithShape="1">
          <a:blip r:embed="rId9" cstate="print">
            <a:extLst>
              <a:ext uri="{28A0092B-C50C-407E-A947-70E740481C1C}">
                <a14:useLocalDpi xmlns:a14="http://schemas.microsoft.com/office/drawing/2010/main"/>
              </a:ext>
            </a:extLst>
          </a:blip>
          <a:srcRect/>
          <a:stretch/>
        </p:blipFill>
        <p:spPr bwMode="auto">
          <a:xfrm>
            <a:off x="4467852" y="2908747"/>
            <a:ext cx="3508231" cy="1639747"/>
          </a:xfrm>
          <a:prstGeom prst="roundRect">
            <a:avLst>
              <a:gd name="adj" fmla="val 0"/>
            </a:avLst>
          </a:prstGeom>
          <a:noFill/>
          <a:ln w="9525">
            <a:solidFill>
              <a:srgbClr val="FFFFFF"/>
            </a:solidFill>
            <a:miter lim="800000"/>
            <a:headEnd/>
            <a:tailEnd/>
          </a:ln>
          <a:effectLst/>
        </p:spPr>
      </p:pic>
      <p:grpSp>
        <p:nvGrpSpPr>
          <p:cNvPr id="9" name="Group 8"/>
          <p:cNvGrpSpPr/>
          <p:nvPr/>
        </p:nvGrpSpPr>
        <p:grpSpPr>
          <a:xfrm>
            <a:off x="214785" y="940526"/>
            <a:ext cx="3740946" cy="3607968"/>
            <a:chOff x="457200" y="1174325"/>
            <a:chExt cx="3256115" cy="3140370"/>
          </a:xfrm>
        </p:grpSpPr>
        <p:pic>
          <p:nvPicPr>
            <p:cNvPr id="5" name="Picture 4" descr="Screen Shot 2015-11-23 at 11.52.38 AM.png"/>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1253892" y="1581065"/>
              <a:ext cx="1970147" cy="2125103"/>
            </a:xfrm>
            <a:prstGeom prst="rect">
              <a:avLst/>
            </a:prstGeom>
          </p:spPr>
        </p:pic>
        <p:pic>
          <p:nvPicPr>
            <p:cNvPr id="7" name="Picture 6" descr="full-team.png"/>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1171405" y="3062948"/>
              <a:ext cx="883537" cy="605855"/>
            </a:xfrm>
            <a:prstGeom prst="rect">
              <a:avLst/>
            </a:prstGeom>
          </p:spPr>
        </p:pic>
        <p:pic>
          <p:nvPicPr>
            <p:cNvPr id="8" name="Picture 7" descr="big-box.png"/>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2586890" y="2048469"/>
              <a:ext cx="849735" cy="810081"/>
            </a:xfrm>
            <a:prstGeom prst="rect">
              <a:avLst/>
            </a:prstGeom>
          </p:spPr>
        </p:pic>
        <p:pic>
          <p:nvPicPr>
            <p:cNvPr id="10" name="Picture 9" descr="full-team.png"/>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1174803" y="1174325"/>
              <a:ext cx="883537" cy="605855"/>
            </a:xfrm>
            <a:prstGeom prst="rect">
              <a:avLst/>
            </a:prstGeom>
          </p:spPr>
        </p:pic>
        <p:pic>
          <p:nvPicPr>
            <p:cNvPr id="11" name="Picture 10" descr="full-team.png"/>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457200" y="2466113"/>
              <a:ext cx="883537" cy="605855"/>
            </a:xfrm>
            <a:prstGeom prst="rect">
              <a:avLst/>
            </a:prstGeom>
          </p:spPr>
        </p:pic>
        <p:pic>
          <p:nvPicPr>
            <p:cNvPr id="12" name="Picture 11" descr="full-team.png"/>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476771" y="1715832"/>
              <a:ext cx="883537" cy="605855"/>
            </a:xfrm>
            <a:prstGeom prst="rect">
              <a:avLst/>
            </a:prstGeom>
          </p:spPr>
        </p:pic>
        <p:sp>
          <p:nvSpPr>
            <p:cNvPr id="6" name="TextBox 5"/>
            <p:cNvSpPr txBox="1"/>
            <p:nvPr/>
          </p:nvSpPr>
          <p:spPr>
            <a:xfrm>
              <a:off x="2539056" y="2827183"/>
              <a:ext cx="1043786" cy="253916"/>
            </a:xfrm>
            <a:prstGeom prst="rect">
              <a:avLst/>
            </a:prstGeom>
            <a:noFill/>
          </p:spPr>
          <p:txBody>
            <a:bodyPr wrap="square" rtlCol="0">
              <a:spAutoFit/>
            </a:bodyPr>
            <a:lstStyle/>
            <a:p>
              <a:pPr algn="ctr"/>
              <a:r>
                <a:rPr lang="en-US" sz="1050" dirty="0"/>
                <a:t>Full system</a:t>
              </a:r>
            </a:p>
          </p:txBody>
        </p:sp>
        <p:sp>
          <p:nvSpPr>
            <p:cNvPr id="13" name="Rounded Rectangle 12"/>
            <p:cNvSpPr/>
            <p:nvPr/>
          </p:nvSpPr>
          <p:spPr bwMode="auto">
            <a:xfrm>
              <a:off x="2897857" y="3473077"/>
              <a:ext cx="815458" cy="841618"/>
            </a:xfrm>
            <a:prstGeom prst="roundRect">
              <a:avLst>
                <a:gd name="adj" fmla="val 7052"/>
              </a:avLst>
            </a:prstGeom>
            <a:solidFill>
              <a:schemeClr val="bg1"/>
            </a:solidFill>
            <a:ln w="19050" cap="flat" cmpd="sng" algn="ctr">
              <a:solidFill>
                <a:schemeClr val="tx2">
                  <a:lumMod val="50000"/>
                  <a:lumOff val="50000"/>
                </a:schemeClr>
              </a:solid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sp>
          <p:nvSpPr>
            <p:cNvPr id="16" name="TextBox 15"/>
            <p:cNvSpPr txBox="1"/>
            <p:nvPr/>
          </p:nvSpPr>
          <p:spPr>
            <a:xfrm>
              <a:off x="2891333" y="3482990"/>
              <a:ext cx="821982" cy="415498"/>
            </a:xfrm>
            <a:prstGeom prst="rect">
              <a:avLst/>
            </a:prstGeom>
            <a:noFill/>
          </p:spPr>
          <p:txBody>
            <a:bodyPr wrap="square" rtlCol="0">
              <a:spAutoFit/>
            </a:bodyPr>
            <a:lstStyle/>
            <a:p>
              <a:pPr algn="ctr"/>
              <a:r>
                <a:rPr lang="en-US" sz="1050" dirty="0"/>
                <a:t>System</a:t>
              </a:r>
            </a:p>
            <a:p>
              <a:pPr algn="ctr"/>
              <a:r>
                <a:rPr lang="en-US" sz="1050" dirty="0"/>
                <a:t>Team</a:t>
              </a:r>
            </a:p>
          </p:txBody>
        </p:sp>
        <p:pic>
          <p:nvPicPr>
            <p:cNvPr id="14" name="Picture 13" descr="System Team.png"/>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3125049" y="3852674"/>
              <a:ext cx="388754" cy="407111"/>
            </a:xfrm>
            <a:prstGeom prst="rect">
              <a:avLst/>
            </a:prstGeom>
          </p:spPr>
        </p:pic>
      </p:grpSp>
    </p:spTree>
    <p:extLst>
      <p:ext uri="{BB962C8B-B14F-4D97-AF65-F5344CB8AC3E}">
        <p14:creationId xmlns:p14="http://schemas.microsoft.com/office/powerpoint/2010/main" val="34412827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p:cNvGraphicFramePr>
          <p:nvPr>
            <p:custDataLst>
              <p:tags r:id="rId2"/>
            </p:custDataLst>
            <p:extLst>
              <p:ext uri="{D42A27DB-BD31-4B8C-83A1-F6EECF244321}">
                <p14:modId xmlns:p14="http://schemas.microsoft.com/office/powerpoint/2010/main" val="2402362301"/>
              </p:ext>
            </p:extLst>
          </p:nvPr>
        </p:nvGraphicFramePr>
        <p:xfrm>
          <a:off x="1143000" y="0"/>
          <a:ext cx="119063" cy="119063"/>
        </p:xfrm>
        <a:graphic>
          <a:graphicData uri="http://schemas.openxmlformats.org/presentationml/2006/ole">
            <mc:AlternateContent xmlns:mc="http://schemas.openxmlformats.org/markup-compatibility/2006">
              <mc:Choice xmlns:v="urn:schemas-microsoft-com:vml" Requires="v">
                <p:oleObj spid="_x0000_s3420" name="think-cell Slide" r:id="rId20" imgW="360" imgH="360" progId="">
                  <p:embed/>
                </p:oleObj>
              </mc:Choice>
              <mc:Fallback>
                <p:oleObj name="think-cell Slide" r:id="rId20" imgW="360" imgH="360" progId="">
                  <p:embed/>
                  <p:pic>
                    <p:nvPicPr>
                      <p:cNvPr id="0" name=""/>
                      <p:cNvPicPr>
                        <a:picLocks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143000" y="0"/>
                        <a:ext cx="119063" cy="119063"/>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latin typeface="Arial"/>
                <a:cs typeface="Arial"/>
              </a:rPr>
              <a:t>Inspecting and Adapting every PI</a:t>
            </a:r>
            <a:endParaRPr lang="en-US" sz="1800" i="1" dirty="0">
              <a:latin typeface="Arial"/>
              <a:cs typeface="Arial"/>
            </a:endParaRPr>
          </a:p>
        </p:txBody>
      </p:sp>
      <p:sp>
        <p:nvSpPr>
          <p:cNvPr id="7" name="Content Placeholder 6"/>
          <p:cNvSpPr>
            <a:spLocks noGrp="1"/>
          </p:cNvSpPr>
          <p:nvPr>
            <p:ph type="body" sz="quarter" idx="10"/>
          </p:nvPr>
        </p:nvSpPr>
        <p:spPr>
          <a:xfrm>
            <a:off x="1456169" y="897818"/>
            <a:ext cx="6004624" cy="619125"/>
          </a:xfrm>
        </p:spPr>
        <p:txBody>
          <a:bodyPr/>
          <a:lstStyle/>
          <a:p>
            <a:pPr algn="ctr"/>
            <a:r>
              <a:rPr lang="en-US" dirty="0">
                <a:latin typeface="Arial"/>
                <a:cs typeface="Arial"/>
              </a:rPr>
              <a:t>Every PI, teams systematically address the larger impediments that are limiting velocity.</a:t>
            </a:r>
          </a:p>
        </p:txBody>
      </p:sp>
      <p:sp>
        <p:nvSpPr>
          <p:cNvPr id="36" name="Rounded Rectangle 35"/>
          <p:cNvSpPr/>
          <p:nvPr>
            <p:custDataLst>
              <p:tags r:id="rId4"/>
            </p:custDataLst>
          </p:nvPr>
        </p:nvSpPr>
        <p:spPr bwMode="auto">
          <a:xfrm>
            <a:off x="1392674" y="3223543"/>
            <a:ext cx="2057400" cy="1384254"/>
          </a:xfrm>
          <a:prstGeom prst="roundRect">
            <a:avLst>
              <a:gd name="adj" fmla="val 4444"/>
            </a:avLst>
          </a:prstGeom>
          <a:solidFill>
            <a:schemeClr val="bg1">
              <a:lumMod val="85000"/>
            </a:schemeClr>
          </a:solidFill>
          <a:ln w="6350" cap="flat" cmpd="sng" algn="ctr">
            <a:noFill/>
            <a:prstDash val="solid"/>
            <a:round/>
            <a:headEnd type="none" w="med" len="med"/>
            <a:tailEnd type="none" w="med" len="med"/>
          </a:ln>
          <a:effectLst/>
        </p:spPr>
        <p:txBody>
          <a:bodyPr vert="horz" wrap="square" lIns="34290" tIns="411480" rIns="34290" bIns="68580" numCol="1" rtlCol="0" anchor="t" anchorCtr="0" compatLnSpc="1">
            <a:prstTxWarp prst="textNoShape">
              <a:avLst/>
            </a:prstTxWarp>
            <a:noAutofit/>
          </a:bodyPr>
          <a:lstStyle/>
          <a:p>
            <a:pPr marL="211931" indent="-211931">
              <a:spcBef>
                <a:spcPts val="150"/>
              </a:spcBef>
              <a:spcAft>
                <a:spcPts val="150"/>
              </a:spcAft>
              <a:buClr>
                <a:srgbClr val="11548A"/>
              </a:buClr>
              <a:buSzPct val="100000"/>
              <a:buFont typeface="Webdings" pitchFamily="18" charset="2"/>
              <a:buChar char="4"/>
            </a:pPr>
            <a:endParaRPr lang="en-US" sz="825" kern="0" dirty="0">
              <a:solidFill>
                <a:srgbClr val="000000"/>
              </a:solidFill>
              <a:latin typeface="Arial"/>
              <a:cs typeface="Arial"/>
            </a:endParaRPr>
          </a:p>
        </p:txBody>
      </p:sp>
      <p:sp>
        <p:nvSpPr>
          <p:cNvPr id="37" name="Rounded Rectangle 36"/>
          <p:cNvSpPr/>
          <p:nvPr>
            <p:custDataLst>
              <p:tags r:id="rId5"/>
            </p:custDataLst>
          </p:nvPr>
        </p:nvSpPr>
        <p:spPr bwMode="auto">
          <a:xfrm>
            <a:off x="3554253" y="3223543"/>
            <a:ext cx="2057400" cy="1384254"/>
          </a:xfrm>
          <a:prstGeom prst="roundRect">
            <a:avLst>
              <a:gd name="adj" fmla="val 4444"/>
            </a:avLst>
          </a:prstGeom>
          <a:solidFill>
            <a:schemeClr val="bg1">
              <a:lumMod val="85000"/>
            </a:schemeClr>
          </a:solidFill>
          <a:ln w="6350" cap="flat" cmpd="sng" algn="ctr">
            <a:noFill/>
            <a:prstDash val="solid"/>
            <a:round/>
            <a:headEnd type="none" w="med" len="med"/>
            <a:tailEnd type="none" w="med" len="med"/>
          </a:ln>
          <a:effectLst/>
        </p:spPr>
        <p:txBody>
          <a:bodyPr vert="horz" wrap="square" lIns="34290" tIns="411480" rIns="34290" bIns="68580" numCol="1" rtlCol="0" anchor="t" anchorCtr="0" compatLnSpc="1">
            <a:prstTxWarp prst="textNoShape">
              <a:avLst/>
            </a:prstTxWarp>
            <a:noAutofit/>
          </a:bodyPr>
          <a:lstStyle/>
          <a:p>
            <a:pPr marL="211931" indent="-211931">
              <a:spcBef>
                <a:spcPts val="150"/>
              </a:spcBef>
              <a:spcAft>
                <a:spcPts val="150"/>
              </a:spcAft>
              <a:buClr>
                <a:srgbClr val="11548A"/>
              </a:buClr>
              <a:buSzPct val="100000"/>
              <a:buFont typeface="Webdings" pitchFamily="18" charset="2"/>
              <a:buChar char="4"/>
            </a:pPr>
            <a:endParaRPr lang="en-US" sz="825" kern="0" dirty="0">
              <a:solidFill>
                <a:srgbClr val="000000"/>
              </a:solidFill>
              <a:latin typeface="Arial"/>
              <a:cs typeface="Arial"/>
            </a:endParaRPr>
          </a:p>
        </p:txBody>
      </p:sp>
      <p:sp>
        <p:nvSpPr>
          <p:cNvPr id="38" name="Rounded Rectangle 37"/>
          <p:cNvSpPr/>
          <p:nvPr>
            <p:custDataLst>
              <p:tags r:id="rId6"/>
            </p:custDataLst>
          </p:nvPr>
        </p:nvSpPr>
        <p:spPr bwMode="auto">
          <a:xfrm>
            <a:off x="5715832" y="3223543"/>
            <a:ext cx="2057400" cy="1384254"/>
          </a:xfrm>
          <a:prstGeom prst="roundRect">
            <a:avLst>
              <a:gd name="adj" fmla="val 4444"/>
            </a:avLst>
          </a:prstGeom>
          <a:solidFill>
            <a:schemeClr val="bg1">
              <a:lumMod val="85000"/>
            </a:schemeClr>
          </a:solidFill>
          <a:ln w="6350" cap="flat" cmpd="sng" algn="ctr">
            <a:noFill/>
            <a:prstDash val="solid"/>
            <a:round/>
            <a:headEnd type="none" w="med" len="med"/>
            <a:tailEnd type="none" w="med" len="med"/>
          </a:ln>
          <a:effectLst/>
        </p:spPr>
        <p:txBody>
          <a:bodyPr vert="horz" wrap="square" lIns="34290" tIns="411480" rIns="34290" bIns="68580" numCol="1" rtlCol="0" anchor="t" anchorCtr="0" compatLnSpc="1">
            <a:prstTxWarp prst="textNoShape">
              <a:avLst/>
            </a:prstTxWarp>
            <a:noAutofit/>
          </a:bodyPr>
          <a:lstStyle/>
          <a:p>
            <a:pPr>
              <a:spcBef>
                <a:spcPts val="150"/>
              </a:spcBef>
              <a:spcAft>
                <a:spcPts val="150"/>
              </a:spcAft>
              <a:buClr>
                <a:srgbClr val="11548A"/>
              </a:buClr>
              <a:buSzPct val="100000"/>
            </a:pPr>
            <a:endParaRPr lang="en-US" sz="900" kern="0" dirty="0">
              <a:solidFill>
                <a:srgbClr val="000000"/>
              </a:solidFill>
              <a:latin typeface="Arial"/>
              <a:cs typeface="Arial"/>
            </a:endParaRPr>
          </a:p>
        </p:txBody>
      </p:sp>
      <p:sp>
        <p:nvSpPr>
          <p:cNvPr id="43" name="Rounded Rectangle 42"/>
          <p:cNvSpPr/>
          <p:nvPr>
            <p:custDataLst>
              <p:tags r:id="rId7"/>
            </p:custDataLst>
          </p:nvPr>
        </p:nvSpPr>
        <p:spPr bwMode="auto">
          <a:xfrm>
            <a:off x="1392674" y="1733061"/>
            <a:ext cx="2057400" cy="1384254"/>
          </a:xfrm>
          <a:prstGeom prst="roundRect">
            <a:avLst>
              <a:gd name="adj" fmla="val 4444"/>
            </a:avLst>
          </a:prstGeom>
          <a:solidFill>
            <a:schemeClr val="bg1">
              <a:lumMod val="85000"/>
            </a:schemeClr>
          </a:solidFill>
          <a:ln w="6350" cap="flat" cmpd="sng" algn="ctr">
            <a:noFill/>
            <a:prstDash val="solid"/>
            <a:round/>
            <a:headEnd type="none" w="med" len="med"/>
            <a:tailEnd type="none" w="med" len="med"/>
          </a:ln>
          <a:effectLst/>
        </p:spPr>
        <p:txBody>
          <a:bodyPr vert="horz" wrap="square" lIns="34290" tIns="411480" rIns="34290" bIns="68580" numCol="1" rtlCol="0" anchor="t" anchorCtr="0" compatLnSpc="1">
            <a:prstTxWarp prst="textNoShape">
              <a:avLst/>
            </a:prstTxWarp>
            <a:noAutofit/>
          </a:bodyPr>
          <a:lstStyle/>
          <a:p>
            <a:pPr marL="211931" indent="-211931">
              <a:spcBef>
                <a:spcPts val="150"/>
              </a:spcBef>
              <a:spcAft>
                <a:spcPts val="150"/>
              </a:spcAft>
              <a:buClr>
                <a:srgbClr val="11548A"/>
              </a:buClr>
              <a:buSzPct val="100000"/>
              <a:buFont typeface="Webdings" pitchFamily="18" charset="2"/>
              <a:buChar char="4"/>
            </a:pPr>
            <a:endParaRPr lang="en-US" sz="825" kern="0" dirty="0">
              <a:solidFill>
                <a:srgbClr val="000000"/>
              </a:solidFill>
              <a:latin typeface="Arial"/>
              <a:cs typeface="Arial"/>
            </a:endParaRPr>
          </a:p>
        </p:txBody>
      </p:sp>
      <p:sp>
        <p:nvSpPr>
          <p:cNvPr id="44" name="Rounded Rectangle 43"/>
          <p:cNvSpPr/>
          <p:nvPr>
            <p:custDataLst>
              <p:tags r:id="rId8"/>
            </p:custDataLst>
          </p:nvPr>
        </p:nvSpPr>
        <p:spPr bwMode="auto">
          <a:xfrm>
            <a:off x="3553361" y="1733061"/>
            <a:ext cx="2057400" cy="1384254"/>
          </a:xfrm>
          <a:prstGeom prst="roundRect">
            <a:avLst>
              <a:gd name="adj" fmla="val 4444"/>
            </a:avLst>
          </a:prstGeom>
          <a:solidFill>
            <a:schemeClr val="bg1">
              <a:lumMod val="85000"/>
            </a:schemeClr>
          </a:solidFill>
          <a:ln w="6350" cap="flat" cmpd="sng" algn="ctr">
            <a:noFill/>
            <a:prstDash val="solid"/>
            <a:round/>
            <a:headEnd type="none" w="med" len="med"/>
            <a:tailEnd type="none" w="med" len="med"/>
          </a:ln>
          <a:effectLst/>
        </p:spPr>
        <p:txBody>
          <a:bodyPr vert="horz" wrap="square" lIns="34290" tIns="411480" rIns="34290" bIns="68580" numCol="1" rtlCol="0" anchor="t" anchorCtr="0" compatLnSpc="1">
            <a:prstTxWarp prst="textNoShape">
              <a:avLst/>
            </a:prstTxWarp>
            <a:noAutofit/>
          </a:bodyPr>
          <a:lstStyle/>
          <a:p>
            <a:pPr marL="211931" indent="-211931">
              <a:spcBef>
                <a:spcPts val="150"/>
              </a:spcBef>
              <a:spcAft>
                <a:spcPts val="150"/>
              </a:spcAft>
              <a:buClr>
                <a:srgbClr val="11548A"/>
              </a:buClr>
              <a:buSzPct val="100000"/>
              <a:buFont typeface="Webdings" pitchFamily="18" charset="2"/>
              <a:buChar char="4"/>
            </a:pPr>
            <a:endParaRPr lang="en-US" sz="825" kern="0" dirty="0">
              <a:solidFill>
                <a:srgbClr val="000000"/>
              </a:solidFill>
              <a:latin typeface="Arial"/>
              <a:cs typeface="Arial"/>
            </a:endParaRPr>
          </a:p>
        </p:txBody>
      </p:sp>
      <p:sp>
        <p:nvSpPr>
          <p:cNvPr id="45" name="Rounded Rectangle 44"/>
          <p:cNvSpPr/>
          <p:nvPr>
            <p:custDataLst>
              <p:tags r:id="rId9"/>
            </p:custDataLst>
          </p:nvPr>
        </p:nvSpPr>
        <p:spPr bwMode="auto">
          <a:xfrm>
            <a:off x="5715832" y="1733061"/>
            <a:ext cx="2057400" cy="1384254"/>
          </a:xfrm>
          <a:prstGeom prst="roundRect">
            <a:avLst>
              <a:gd name="adj" fmla="val 4444"/>
            </a:avLst>
          </a:prstGeom>
          <a:solidFill>
            <a:schemeClr val="bg1">
              <a:lumMod val="85000"/>
            </a:schemeClr>
          </a:solidFill>
          <a:ln w="6350" cap="flat" cmpd="sng" algn="ctr">
            <a:noFill/>
            <a:prstDash val="solid"/>
            <a:round/>
            <a:headEnd type="none" w="med" len="med"/>
            <a:tailEnd type="none" w="med" len="med"/>
          </a:ln>
          <a:effectLst/>
        </p:spPr>
        <p:txBody>
          <a:bodyPr vert="horz" wrap="square" lIns="34290" tIns="411480" rIns="34290" bIns="68580" numCol="1" rtlCol="0" anchor="t" anchorCtr="0" compatLnSpc="1">
            <a:prstTxWarp prst="textNoShape">
              <a:avLst/>
            </a:prstTxWarp>
            <a:noAutofit/>
          </a:bodyPr>
          <a:lstStyle/>
          <a:p>
            <a:pPr marL="211931" indent="-211931">
              <a:spcBef>
                <a:spcPts val="150"/>
              </a:spcBef>
              <a:spcAft>
                <a:spcPts val="150"/>
              </a:spcAft>
              <a:buClr>
                <a:srgbClr val="11548A"/>
              </a:buClr>
              <a:buSzPct val="100000"/>
              <a:buFont typeface="Webdings" pitchFamily="18" charset="2"/>
              <a:buChar char="4"/>
            </a:pPr>
            <a:endParaRPr lang="en-US" sz="825" kern="0" dirty="0">
              <a:solidFill>
                <a:srgbClr val="000000"/>
              </a:solidFill>
              <a:latin typeface="Arial"/>
              <a:cs typeface="Arial"/>
            </a:endParaRPr>
          </a:p>
        </p:txBody>
      </p:sp>
      <p:sp>
        <p:nvSpPr>
          <p:cNvPr id="46" name="Rounded Rectangle 45"/>
          <p:cNvSpPr/>
          <p:nvPr>
            <p:custDataLst>
              <p:tags r:id="rId10"/>
            </p:custDataLst>
          </p:nvPr>
        </p:nvSpPr>
        <p:spPr>
          <a:xfrm>
            <a:off x="1805914" y="2285554"/>
            <a:ext cx="1223459" cy="665440"/>
          </a:xfrm>
          <a:prstGeom prst="roundRect">
            <a:avLst>
              <a:gd name="adj" fmla="val 11404"/>
            </a:avLst>
          </a:prstGeom>
          <a:solidFill>
            <a:schemeClr val="accent1"/>
          </a:solidFill>
          <a:ln w="15875" cap="flat" cmpd="sng" algn="ctr">
            <a:noFill/>
            <a:prstDash val="solid"/>
            <a:round/>
            <a:headEnd type="none" w="med" len="med"/>
            <a:tailEnd type="none" w="med" len="med"/>
          </a:ln>
          <a:effectLst/>
        </p:spPr>
        <p:txBody>
          <a:bodyPr vert="horz" wrap="square" lIns="68580" tIns="68580" rIns="68580" bIns="68580" numCol="1" rtlCol="0" anchor="ctr" anchorCtr="0" compatLnSpc="1">
            <a:prstTxWarp prst="textNoShape">
              <a:avLst/>
            </a:prstTxWarp>
            <a:spAutoFit/>
          </a:bodyPr>
          <a:lstStyle/>
          <a:p>
            <a:pPr algn="ctr">
              <a:spcBef>
                <a:spcPct val="20000"/>
              </a:spcBef>
              <a:buClr>
                <a:srgbClr val="FFFFFF"/>
              </a:buClr>
              <a:buSzPct val="100000"/>
              <a:defRPr/>
            </a:pPr>
            <a:r>
              <a:rPr lang="en-US" sz="1050" kern="0" dirty="0">
                <a:ln>
                  <a:solidFill>
                    <a:srgbClr val="80DDF8">
                      <a:alpha val="3000"/>
                    </a:srgbClr>
                  </a:solidFill>
                </a:ln>
                <a:solidFill>
                  <a:srgbClr val="FFFFFF"/>
                </a:solidFill>
                <a:latin typeface="Arial"/>
                <a:cs typeface="Arial"/>
              </a:rPr>
              <a:t>Insufficiently reliable release commitments?</a:t>
            </a:r>
          </a:p>
        </p:txBody>
      </p:sp>
      <p:sp>
        <p:nvSpPr>
          <p:cNvPr id="50" name="Round Same Side Corner Rectangle 49"/>
          <p:cNvSpPr/>
          <p:nvPr>
            <p:custDataLst>
              <p:tags r:id="rId11"/>
            </p:custDataLst>
          </p:nvPr>
        </p:nvSpPr>
        <p:spPr bwMode="auto">
          <a:xfrm>
            <a:off x="1392675" y="1720962"/>
            <a:ext cx="2057400" cy="435590"/>
          </a:xfrm>
          <a:prstGeom prst="round2SameRect">
            <a:avLst/>
          </a:prstGeom>
          <a:solidFill>
            <a:schemeClr val="accent2">
              <a:alpha val="74000"/>
            </a:schemeClr>
          </a:solidFill>
          <a:ln w="6350" cap="flat" cmpd="sng" algn="ctr">
            <a:no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spAutoFit/>
          </a:bodyPr>
          <a:lstStyle/>
          <a:p>
            <a:pPr algn="ctr">
              <a:spcBef>
                <a:spcPct val="20000"/>
              </a:spcBef>
              <a:buClr>
                <a:srgbClr val="FFFFFF"/>
              </a:buClr>
              <a:buSzPct val="100000"/>
              <a:defRPr/>
            </a:pPr>
            <a:r>
              <a:rPr lang="en-US" sz="1125" b="1" kern="0" dirty="0">
                <a:ln>
                  <a:solidFill>
                    <a:srgbClr val="FFFFFF">
                      <a:alpha val="0"/>
                    </a:srgbClr>
                  </a:solidFill>
                </a:ln>
                <a:solidFill>
                  <a:srgbClr val="FFFFFF"/>
                </a:solidFill>
                <a:latin typeface="Arial"/>
                <a:cs typeface="Arial"/>
              </a:rPr>
              <a:t>Agree on the </a:t>
            </a:r>
            <a:br>
              <a:rPr lang="en-US" sz="1125" b="1" kern="0" dirty="0">
                <a:ln>
                  <a:solidFill>
                    <a:srgbClr val="FFFFFF">
                      <a:alpha val="0"/>
                    </a:srgbClr>
                  </a:solidFill>
                </a:ln>
                <a:solidFill>
                  <a:srgbClr val="FFFFFF"/>
                </a:solidFill>
                <a:latin typeface="Arial"/>
                <a:cs typeface="Arial"/>
              </a:rPr>
            </a:br>
            <a:r>
              <a:rPr lang="en-US" sz="1125" b="1" kern="0" dirty="0">
                <a:ln>
                  <a:solidFill>
                    <a:srgbClr val="FFFFFF">
                      <a:alpha val="0"/>
                    </a:srgbClr>
                  </a:solidFill>
                </a:ln>
                <a:solidFill>
                  <a:srgbClr val="FFFFFF"/>
                </a:solidFill>
                <a:latin typeface="Arial"/>
                <a:cs typeface="Arial"/>
              </a:rPr>
              <a:t>problem to solve</a:t>
            </a:r>
          </a:p>
        </p:txBody>
      </p:sp>
      <p:sp>
        <p:nvSpPr>
          <p:cNvPr id="51" name="Round Same Side Corner Rectangle 50"/>
          <p:cNvSpPr/>
          <p:nvPr>
            <p:custDataLst>
              <p:tags r:id="rId12"/>
            </p:custDataLst>
          </p:nvPr>
        </p:nvSpPr>
        <p:spPr bwMode="auto">
          <a:xfrm>
            <a:off x="3553361" y="1720962"/>
            <a:ext cx="2057400" cy="435590"/>
          </a:xfrm>
          <a:prstGeom prst="round2SameRect">
            <a:avLst/>
          </a:prstGeom>
          <a:solidFill>
            <a:schemeClr val="accent2">
              <a:alpha val="74000"/>
            </a:schemeClr>
          </a:solidFill>
          <a:ln w="6350" cap="flat" cmpd="sng" algn="ctr">
            <a:no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spAutoFit/>
          </a:bodyPr>
          <a:lstStyle/>
          <a:p>
            <a:pPr algn="ctr">
              <a:spcBef>
                <a:spcPct val="20000"/>
              </a:spcBef>
              <a:buClr>
                <a:srgbClr val="FFFFFF"/>
              </a:buClr>
              <a:buSzPct val="100000"/>
              <a:defRPr/>
            </a:pPr>
            <a:r>
              <a:rPr lang="en-US" sz="1125" b="1" kern="0" dirty="0">
                <a:ln>
                  <a:solidFill>
                    <a:srgbClr val="FFFFFF">
                      <a:alpha val="0"/>
                    </a:srgbClr>
                  </a:solidFill>
                </a:ln>
                <a:solidFill>
                  <a:srgbClr val="FFFFFF"/>
                </a:solidFill>
                <a:latin typeface="Arial"/>
                <a:cs typeface="Arial"/>
              </a:rPr>
              <a:t>Apply root cause analysis </a:t>
            </a:r>
            <a:br>
              <a:rPr lang="en-US" sz="1125" b="1" kern="0" dirty="0">
                <a:ln>
                  <a:solidFill>
                    <a:srgbClr val="FFFFFF">
                      <a:alpha val="0"/>
                    </a:srgbClr>
                  </a:solidFill>
                </a:ln>
                <a:solidFill>
                  <a:srgbClr val="FFFFFF"/>
                </a:solidFill>
                <a:latin typeface="Arial"/>
                <a:cs typeface="Arial"/>
              </a:rPr>
            </a:br>
            <a:r>
              <a:rPr lang="en-US" sz="1125" b="1" kern="0" dirty="0">
                <a:ln>
                  <a:solidFill>
                    <a:srgbClr val="FFFFFF">
                      <a:alpha val="0"/>
                    </a:srgbClr>
                  </a:solidFill>
                </a:ln>
                <a:solidFill>
                  <a:srgbClr val="FFFFFF"/>
                </a:solidFill>
                <a:latin typeface="Arial"/>
                <a:cs typeface="Arial"/>
              </a:rPr>
              <a:t>(+ five whys)</a:t>
            </a:r>
          </a:p>
        </p:txBody>
      </p:sp>
      <p:sp>
        <p:nvSpPr>
          <p:cNvPr id="52" name="Round Same Side Corner Rectangle 51"/>
          <p:cNvSpPr/>
          <p:nvPr>
            <p:custDataLst>
              <p:tags r:id="rId13"/>
            </p:custDataLst>
          </p:nvPr>
        </p:nvSpPr>
        <p:spPr bwMode="auto">
          <a:xfrm>
            <a:off x="5715834" y="1720962"/>
            <a:ext cx="2057400" cy="435590"/>
          </a:xfrm>
          <a:prstGeom prst="round2SameRect">
            <a:avLst/>
          </a:prstGeom>
          <a:solidFill>
            <a:schemeClr val="accent2">
              <a:alpha val="74000"/>
            </a:schemeClr>
          </a:solidFill>
          <a:ln w="6350" cap="flat" cmpd="sng" algn="ctr">
            <a:noFill/>
            <a:prstDash val="solid"/>
            <a:round/>
            <a:headEnd type="none" w="med" len="med"/>
            <a:tailEnd type="none" w="med" len="med"/>
          </a:ln>
          <a:effectLst/>
        </p:spPr>
        <p:txBody>
          <a:bodyPr vert="horz" wrap="square" lIns="0" tIns="34290" rIns="0" bIns="34290" numCol="1" rtlCol="0" anchor="ctr" anchorCtr="0" compatLnSpc="1">
            <a:prstTxWarp prst="textNoShape">
              <a:avLst/>
            </a:prstTxWarp>
            <a:spAutoFit/>
          </a:bodyPr>
          <a:lstStyle/>
          <a:p>
            <a:pPr algn="ctr">
              <a:spcBef>
                <a:spcPct val="20000"/>
              </a:spcBef>
              <a:buClr>
                <a:srgbClr val="FFFFFF"/>
              </a:buClr>
              <a:buSzPct val="100000"/>
              <a:defRPr/>
            </a:pPr>
            <a:r>
              <a:rPr lang="fr-FR" sz="1125" b="1" kern="0" spc="-10" dirty="0">
                <a:ln>
                  <a:solidFill>
                    <a:srgbClr val="FFFFFF">
                      <a:alpha val="0"/>
                    </a:srgbClr>
                  </a:solidFill>
                </a:ln>
                <a:solidFill>
                  <a:srgbClr val="FFFFFF"/>
                </a:solidFill>
                <a:latin typeface="Arial"/>
                <a:cs typeface="Arial"/>
              </a:rPr>
              <a:t> Identify the </a:t>
            </a:r>
            <a:r>
              <a:rPr lang="fr-FR" sz="1125" b="1" kern="0" spc="-10" dirty="0" err="1">
                <a:ln>
                  <a:solidFill>
                    <a:srgbClr val="FFFFFF">
                      <a:alpha val="0"/>
                    </a:srgbClr>
                  </a:solidFill>
                </a:ln>
                <a:solidFill>
                  <a:srgbClr val="FFFFFF"/>
                </a:solidFill>
                <a:latin typeface="Arial"/>
                <a:cs typeface="Arial"/>
              </a:rPr>
              <a:t>biggest</a:t>
            </a:r>
            <a:r>
              <a:rPr lang="fr-FR" sz="1125" b="1" kern="0" spc="-10" dirty="0">
                <a:ln>
                  <a:solidFill>
                    <a:srgbClr val="FFFFFF">
                      <a:alpha val="0"/>
                    </a:srgbClr>
                  </a:solidFill>
                </a:ln>
                <a:solidFill>
                  <a:srgbClr val="FFFFFF"/>
                </a:solidFill>
                <a:latin typeface="Arial"/>
                <a:cs typeface="Arial"/>
              </a:rPr>
              <a:t> </a:t>
            </a:r>
            <a:r>
              <a:rPr lang="fr-FR" sz="1125" b="1" kern="0" spc="-10" dirty="0" err="1">
                <a:ln>
                  <a:solidFill>
                    <a:srgbClr val="FFFFFF">
                      <a:alpha val="0"/>
                    </a:srgbClr>
                  </a:solidFill>
                </a:ln>
                <a:solidFill>
                  <a:srgbClr val="FFFFFF"/>
                </a:solidFill>
                <a:latin typeface="Arial"/>
                <a:cs typeface="Arial"/>
              </a:rPr>
              <a:t>root</a:t>
            </a:r>
            <a:r>
              <a:rPr lang="fr-FR" sz="1125" b="1" kern="0" spc="-10" dirty="0">
                <a:ln>
                  <a:solidFill>
                    <a:srgbClr val="FFFFFF">
                      <a:alpha val="0"/>
                    </a:srgbClr>
                  </a:solidFill>
                </a:ln>
                <a:solidFill>
                  <a:srgbClr val="FFFFFF"/>
                </a:solidFill>
                <a:latin typeface="Arial"/>
                <a:cs typeface="Arial"/>
              </a:rPr>
              <a:t> cause using Pareto Analysis</a:t>
            </a:r>
          </a:p>
        </p:txBody>
      </p:sp>
      <p:sp>
        <p:nvSpPr>
          <p:cNvPr id="53" name="Round Same Side Corner Rectangle 52"/>
          <p:cNvSpPr/>
          <p:nvPr>
            <p:custDataLst>
              <p:tags r:id="rId14"/>
            </p:custDataLst>
          </p:nvPr>
        </p:nvSpPr>
        <p:spPr bwMode="auto">
          <a:xfrm>
            <a:off x="1392675" y="3211443"/>
            <a:ext cx="2057400" cy="435590"/>
          </a:xfrm>
          <a:prstGeom prst="round2SameRect">
            <a:avLst/>
          </a:prstGeom>
          <a:solidFill>
            <a:schemeClr val="accent2">
              <a:alpha val="74000"/>
            </a:schemeClr>
          </a:solidFill>
          <a:ln w="6350" cap="flat" cmpd="sng" algn="ctr">
            <a:no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spAutoFit/>
          </a:bodyPr>
          <a:lstStyle/>
          <a:p>
            <a:pPr algn="ctr">
              <a:spcBef>
                <a:spcPct val="20000"/>
              </a:spcBef>
              <a:buClr>
                <a:srgbClr val="FFFFFF"/>
              </a:buClr>
              <a:buSzPct val="100000"/>
              <a:defRPr/>
            </a:pPr>
            <a:r>
              <a:rPr lang="en-US" sz="1125" b="1" kern="0" dirty="0">
                <a:ln>
                  <a:solidFill>
                    <a:srgbClr val="FFFFFF">
                      <a:alpha val="0"/>
                    </a:srgbClr>
                  </a:solidFill>
                </a:ln>
                <a:solidFill>
                  <a:srgbClr val="FFFFFF"/>
                </a:solidFill>
                <a:latin typeface="Arial"/>
                <a:cs typeface="Arial"/>
              </a:rPr>
              <a:t>Restate the new problem for the biggest root cause</a:t>
            </a:r>
          </a:p>
        </p:txBody>
      </p:sp>
      <p:sp>
        <p:nvSpPr>
          <p:cNvPr id="54" name="Round Same Side Corner Rectangle 53"/>
          <p:cNvSpPr/>
          <p:nvPr>
            <p:custDataLst>
              <p:tags r:id="rId15"/>
            </p:custDataLst>
          </p:nvPr>
        </p:nvSpPr>
        <p:spPr bwMode="auto">
          <a:xfrm>
            <a:off x="3552469" y="3223542"/>
            <a:ext cx="2057400" cy="411480"/>
          </a:xfrm>
          <a:prstGeom prst="round2SameRect">
            <a:avLst/>
          </a:prstGeom>
          <a:solidFill>
            <a:schemeClr val="accent2">
              <a:alpha val="74000"/>
            </a:schemeClr>
          </a:solidFill>
          <a:ln w="6350" cap="flat" cmpd="sng" algn="ctr">
            <a:no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noAutofit/>
          </a:bodyPr>
          <a:lstStyle/>
          <a:p>
            <a:pPr algn="ctr">
              <a:spcBef>
                <a:spcPct val="20000"/>
              </a:spcBef>
              <a:buClr>
                <a:srgbClr val="FFFFFF"/>
              </a:buClr>
              <a:buSzPct val="100000"/>
              <a:defRPr/>
            </a:pPr>
            <a:r>
              <a:rPr lang="en-US" sz="1125" b="1" kern="0" dirty="0">
                <a:ln>
                  <a:solidFill>
                    <a:srgbClr val="FFFFFF">
                      <a:alpha val="0"/>
                    </a:srgbClr>
                  </a:solidFill>
                </a:ln>
                <a:solidFill>
                  <a:srgbClr val="FFFFFF"/>
                </a:solidFill>
                <a:latin typeface="Arial"/>
                <a:cs typeface="Arial"/>
              </a:rPr>
              <a:t>Brainstorm solutions</a:t>
            </a:r>
          </a:p>
        </p:txBody>
      </p:sp>
      <p:sp>
        <p:nvSpPr>
          <p:cNvPr id="55" name="Round Same Side Corner Rectangle 54"/>
          <p:cNvSpPr/>
          <p:nvPr>
            <p:custDataLst>
              <p:tags r:id="rId16"/>
            </p:custDataLst>
          </p:nvPr>
        </p:nvSpPr>
        <p:spPr bwMode="auto">
          <a:xfrm>
            <a:off x="5715834" y="3223543"/>
            <a:ext cx="2057400" cy="411391"/>
          </a:xfrm>
          <a:prstGeom prst="round2SameRect">
            <a:avLst/>
          </a:prstGeom>
          <a:solidFill>
            <a:schemeClr val="accent2">
              <a:alpha val="74000"/>
            </a:schemeClr>
          </a:solidFill>
          <a:ln w="6350" cap="flat" cmpd="sng" algn="ctr">
            <a:no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noAutofit/>
          </a:bodyPr>
          <a:lstStyle/>
          <a:p>
            <a:pPr algn="ctr">
              <a:spcBef>
                <a:spcPct val="20000"/>
              </a:spcBef>
              <a:buClr>
                <a:srgbClr val="FFFFFF"/>
              </a:buClr>
              <a:buSzPct val="100000"/>
              <a:defRPr/>
            </a:pPr>
            <a:r>
              <a:rPr lang="en-US" sz="1125" b="1" kern="0" dirty="0">
                <a:ln>
                  <a:solidFill>
                    <a:srgbClr val="FFFFFF">
                      <a:alpha val="0"/>
                    </a:srgbClr>
                  </a:solidFill>
                </a:ln>
                <a:solidFill>
                  <a:srgbClr val="FFFFFF"/>
                </a:solidFill>
                <a:latin typeface="Arial"/>
                <a:cs typeface="Arial"/>
              </a:rPr>
              <a:t>Identify improvement </a:t>
            </a:r>
            <a:br>
              <a:rPr lang="en-US" sz="1125" b="1" kern="0" dirty="0">
                <a:ln>
                  <a:solidFill>
                    <a:srgbClr val="FFFFFF">
                      <a:alpha val="0"/>
                    </a:srgbClr>
                  </a:solidFill>
                </a:ln>
                <a:solidFill>
                  <a:srgbClr val="FFFFFF"/>
                </a:solidFill>
                <a:latin typeface="Arial"/>
                <a:cs typeface="Arial"/>
              </a:rPr>
            </a:br>
            <a:r>
              <a:rPr lang="en-US" sz="1125" b="1" kern="0" dirty="0">
                <a:ln>
                  <a:solidFill>
                    <a:srgbClr val="FFFFFF">
                      <a:alpha val="0"/>
                    </a:srgbClr>
                  </a:solidFill>
                </a:ln>
                <a:solidFill>
                  <a:srgbClr val="FFFFFF"/>
                </a:solidFill>
                <a:latin typeface="Arial"/>
                <a:cs typeface="Arial"/>
              </a:rPr>
              <a:t>Backlog items</a:t>
            </a:r>
          </a:p>
        </p:txBody>
      </p:sp>
      <p:pic>
        <p:nvPicPr>
          <p:cNvPr id="56" name="Picture 55" descr="brainstorm.png"/>
          <p:cNvPicPr>
            <a:picLocks noChangeAspect="1"/>
          </p:cNvPicPr>
          <p:nvPr/>
        </p:nvPicPr>
        <p:blipFill>
          <a:blip r:embed="rId22">
            <a:extLst>
              <a:ext uri="{28A0092B-C50C-407E-A947-70E740481C1C}">
                <a14:useLocalDpi xmlns:a14="http://schemas.microsoft.com/office/drawing/2010/main"/>
              </a:ext>
            </a:extLst>
          </a:blip>
          <a:stretch>
            <a:fillRect/>
          </a:stretch>
        </p:blipFill>
        <p:spPr>
          <a:xfrm>
            <a:off x="3822343" y="3701164"/>
            <a:ext cx="1518047" cy="809625"/>
          </a:xfrm>
          <a:prstGeom prst="rect">
            <a:avLst/>
          </a:prstGeom>
        </p:spPr>
      </p:pic>
      <p:pic>
        <p:nvPicPr>
          <p:cNvPr id="26" name="Picture 25"/>
          <p:cNvPicPr>
            <a:picLocks noChangeAspect="1"/>
          </p:cNvPicPr>
          <p:nvPr/>
        </p:nvPicPr>
        <p:blipFill>
          <a:blip r:embed="rId23" cstate="print">
            <a:extLst>
              <a:ext uri="{28A0092B-C50C-407E-A947-70E740481C1C}">
                <a14:useLocalDpi xmlns:a14="http://schemas.microsoft.com/office/drawing/2010/main"/>
              </a:ext>
            </a:extLst>
          </a:blip>
          <a:stretch>
            <a:fillRect/>
          </a:stretch>
        </p:blipFill>
        <p:spPr>
          <a:xfrm>
            <a:off x="6008311" y="2189053"/>
            <a:ext cx="1411703" cy="824717"/>
          </a:xfrm>
          <a:prstGeom prst="rect">
            <a:avLst/>
          </a:prstGeom>
          <a:ln>
            <a:noFill/>
          </a:ln>
        </p:spPr>
      </p:pic>
      <p:pic>
        <p:nvPicPr>
          <p:cNvPr id="4" name="Picture 3"/>
          <p:cNvPicPr>
            <a:picLocks noChangeAspect="1"/>
          </p:cNvPicPr>
          <p:nvPr/>
        </p:nvPicPr>
        <p:blipFill>
          <a:blip r:embed="rId24" cstate="print">
            <a:extLst>
              <a:ext uri="{28A0092B-C50C-407E-A947-70E740481C1C}">
                <a14:useLocalDpi xmlns:a14="http://schemas.microsoft.com/office/drawing/2010/main"/>
              </a:ext>
            </a:extLst>
          </a:blip>
          <a:stretch>
            <a:fillRect/>
          </a:stretch>
        </p:blipFill>
        <p:spPr>
          <a:xfrm>
            <a:off x="3955615" y="2196796"/>
            <a:ext cx="1377394" cy="789194"/>
          </a:xfrm>
          <a:prstGeom prst="rect">
            <a:avLst/>
          </a:prstGeom>
        </p:spPr>
      </p:pic>
      <p:sp>
        <p:nvSpPr>
          <p:cNvPr id="27" name="Rounded Rectangle 26"/>
          <p:cNvSpPr/>
          <p:nvPr>
            <p:custDataLst>
              <p:tags r:id="rId17"/>
            </p:custDataLst>
          </p:nvPr>
        </p:nvSpPr>
        <p:spPr>
          <a:xfrm>
            <a:off x="1805914" y="3763786"/>
            <a:ext cx="1223459" cy="699945"/>
          </a:xfrm>
          <a:prstGeom prst="roundRect">
            <a:avLst>
              <a:gd name="adj" fmla="val 11404"/>
            </a:avLst>
          </a:prstGeom>
          <a:solidFill>
            <a:schemeClr val="accent1"/>
          </a:solidFill>
          <a:ln w="15875" cap="flat" cmpd="sng" algn="ctr">
            <a:noFill/>
            <a:prstDash val="solid"/>
            <a:round/>
            <a:headEnd type="none" w="med" len="med"/>
            <a:tailEnd type="none" w="med" len="med"/>
          </a:ln>
          <a:effectLst/>
        </p:spPr>
        <p:txBody>
          <a:bodyPr vert="horz" wrap="square" lIns="68580" tIns="68580" rIns="68580" bIns="68580" numCol="1" rtlCol="0" anchor="ctr" anchorCtr="0" compatLnSpc="1">
            <a:prstTxWarp prst="textNoShape">
              <a:avLst/>
            </a:prstTxWarp>
            <a:spAutoFit/>
          </a:bodyPr>
          <a:lstStyle/>
          <a:p>
            <a:pPr algn="ctr">
              <a:spcBef>
                <a:spcPct val="20000"/>
              </a:spcBef>
              <a:buClr>
                <a:srgbClr val="FFFFFF"/>
              </a:buClr>
              <a:buSzPct val="100000"/>
            </a:pPr>
            <a:r>
              <a:rPr lang="en-US" sz="1050" kern="0" dirty="0">
                <a:ln>
                  <a:solidFill>
                    <a:srgbClr val="80DDF8">
                      <a:alpha val="3000"/>
                    </a:srgbClr>
                  </a:solidFill>
                </a:ln>
                <a:solidFill>
                  <a:srgbClr val="FFFFFF"/>
                </a:solidFill>
                <a:latin typeface="Arial"/>
                <a:cs typeface="Arial"/>
              </a:rPr>
              <a:t>Insufficient</a:t>
            </a:r>
          </a:p>
          <a:p>
            <a:pPr algn="ctr">
              <a:spcBef>
                <a:spcPct val="20000"/>
              </a:spcBef>
              <a:buClr>
                <a:srgbClr val="FFFFFF"/>
              </a:buClr>
              <a:buSzPct val="100000"/>
            </a:pPr>
            <a:r>
              <a:rPr lang="en-US" sz="1050" kern="0" dirty="0">
                <a:ln>
                  <a:solidFill>
                    <a:srgbClr val="80DDF8">
                      <a:alpha val="3000"/>
                    </a:srgbClr>
                  </a:solidFill>
                </a:ln>
                <a:solidFill>
                  <a:srgbClr val="FFFFFF"/>
                </a:solidFill>
                <a:latin typeface="Arial"/>
                <a:cs typeface="Arial"/>
              </a:rPr>
              <a:t> architectural runway</a:t>
            </a:r>
          </a:p>
        </p:txBody>
      </p:sp>
      <p:sp>
        <p:nvSpPr>
          <p:cNvPr id="9" name="Rectangle 8"/>
          <p:cNvSpPr/>
          <p:nvPr/>
        </p:nvSpPr>
        <p:spPr bwMode="auto">
          <a:xfrm>
            <a:off x="6483394" y="3683400"/>
            <a:ext cx="608964" cy="853564"/>
          </a:xfrm>
          <a:prstGeom prst="rect">
            <a:avLst/>
          </a:prstGeom>
          <a:solidFill>
            <a:schemeClr val="bg1"/>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grpSp>
        <p:nvGrpSpPr>
          <p:cNvPr id="8" name="Group 7"/>
          <p:cNvGrpSpPr/>
          <p:nvPr/>
        </p:nvGrpSpPr>
        <p:grpSpPr>
          <a:xfrm>
            <a:off x="6539157" y="3751058"/>
            <a:ext cx="506357" cy="723267"/>
            <a:chOff x="7208422" y="4649491"/>
            <a:chExt cx="675143" cy="964356"/>
          </a:xfrm>
        </p:grpSpPr>
        <p:pic>
          <p:nvPicPr>
            <p:cNvPr id="6" name="Picture 5" descr="NFRs.png"/>
            <p:cNvPicPr>
              <a:picLocks noChangeAspect="1"/>
            </p:cNvPicPr>
            <p:nvPr/>
          </p:nvPicPr>
          <p:blipFill>
            <a:blip r:embed="rId25" cstate="print">
              <a:extLst>
                <a:ext uri="{28A0092B-C50C-407E-A947-70E740481C1C}">
                  <a14:useLocalDpi xmlns:a14="http://schemas.microsoft.com/office/drawing/2010/main"/>
                </a:ext>
              </a:extLst>
            </a:blip>
            <a:stretch>
              <a:fillRect/>
            </a:stretch>
          </p:blipFill>
          <p:spPr>
            <a:xfrm>
              <a:off x="7208422" y="5306964"/>
              <a:ext cx="675143" cy="306883"/>
            </a:xfrm>
            <a:prstGeom prst="rect">
              <a:avLst/>
            </a:prstGeom>
          </p:spPr>
        </p:pic>
        <p:pic>
          <p:nvPicPr>
            <p:cNvPr id="5" name="Picture 4" descr="Portfolio-Backlog.png"/>
            <p:cNvPicPr>
              <a:picLocks noChangeAspect="1"/>
            </p:cNvPicPr>
            <p:nvPr/>
          </p:nvPicPr>
          <p:blipFill>
            <a:blip r:embed="rId26" cstate="print">
              <a:extLst>
                <a:ext uri="{28A0092B-C50C-407E-A947-70E740481C1C}">
                  <a14:useLocalDpi xmlns:a14="http://schemas.microsoft.com/office/drawing/2010/main"/>
                </a:ext>
              </a:extLst>
            </a:blip>
            <a:stretch>
              <a:fillRect/>
            </a:stretch>
          </p:blipFill>
          <p:spPr>
            <a:xfrm>
              <a:off x="7301943" y="4649491"/>
              <a:ext cx="488101" cy="679098"/>
            </a:xfrm>
            <a:prstGeom prst="rect">
              <a:avLst/>
            </a:prstGeom>
          </p:spPr>
        </p:pic>
      </p:grpSp>
    </p:spTree>
    <p:extLst>
      <p:ext uri="{BB962C8B-B14F-4D97-AF65-F5344CB8AC3E}">
        <p14:creationId xmlns:p14="http://schemas.microsoft.com/office/powerpoint/2010/main" val="3444979750"/>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1"/>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6"/>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5"/>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52"/>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7"/>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6"/>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53"/>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56"/>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37"/>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54"/>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8"/>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38"/>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5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37" grpId="0" animBg="1"/>
      <p:bldP spid="38" grpId="0" animBg="1"/>
      <p:bldP spid="43" grpId="0" animBg="1"/>
      <p:bldP spid="44" grpId="0" animBg="1"/>
      <p:bldP spid="45" grpId="0" animBg="1"/>
      <p:bldP spid="46" grpId="0" animBg="1"/>
      <p:bldP spid="50" grpId="0" animBg="1"/>
      <p:bldP spid="51" grpId="0" animBg="1"/>
      <p:bldP spid="52" grpId="0" animBg="1"/>
      <p:bldP spid="53" grpId="0" animBg="1"/>
      <p:bldP spid="54" grpId="0" animBg="1"/>
      <p:bldP spid="55" grpId="0" animBg="1"/>
      <p:bldP spid="27"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lign strategy and execution with Portfolio SAFe</a:t>
            </a:r>
          </a:p>
        </p:txBody>
      </p:sp>
      <p:pic>
        <p:nvPicPr>
          <p:cNvPr id="6" name="Picture 5"/>
          <p:cNvPicPr>
            <a:picLocks noChangeAspect="1"/>
          </p:cNvPicPr>
          <p:nvPr/>
        </p:nvPicPr>
        <p:blipFill rotWithShape="1">
          <a:blip r:embed="rId3" cstate="print">
            <a:extLst>
              <a:ext uri="{28A0092B-C50C-407E-A947-70E740481C1C}">
                <a14:useLocalDpi xmlns:a14="http://schemas.microsoft.com/office/drawing/2010/main"/>
              </a:ext>
            </a:extLst>
          </a:blip>
          <a:srcRect t="5364"/>
          <a:stretch/>
        </p:blipFill>
        <p:spPr>
          <a:xfrm>
            <a:off x="1099372" y="880744"/>
            <a:ext cx="7213355" cy="3884234"/>
          </a:xfrm>
          <a:prstGeom prst="rect">
            <a:avLst/>
          </a:prstGeom>
        </p:spPr>
      </p:pic>
    </p:spTree>
    <p:extLst>
      <p:ext uri="{BB962C8B-B14F-4D97-AF65-F5344CB8AC3E}">
        <p14:creationId xmlns:p14="http://schemas.microsoft.com/office/powerpoint/2010/main" val="398576702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842429" y="454914"/>
            <a:ext cx="4244171" cy="301625"/>
          </a:xfrm>
        </p:spPr>
        <p:txBody>
          <a:bodyPr/>
          <a:lstStyle/>
          <a:p>
            <a:r>
              <a:rPr lang="en-US" sz="2600" dirty="0">
                <a:solidFill>
                  <a:schemeClr val="bg1"/>
                </a:solidFill>
              </a:rPr>
              <a:t>The Portfolio challenge</a:t>
            </a:r>
          </a:p>
        </p:txBody>
      </p:sp>
      <p:sp>
        <p:nvSpPr>
          <p:cNvPr id="5" name="TextBox 4"/>
          <p:cNvSpPr txBox="1"/>
          <p:nvPr/>
        </p:nvSpPr>
        <p:spPr>
          <a:xfrm>
            <a:off x="2778421" y="1062237"/>
            <a:ext cx="5944955" cy="3939540"/>
          </a:xfrm>
          <a:prstGeom prst="rect">
            <a:avLst/>
          </a:prstGeom>
          <a:solidFill>
            <a:schemeClr val="bg1">
              <a:alpha val="0"/>
            </a:schemeClr>
          </a:solidFill>
          <a:ln>
            <a:solidFill>
              <a:schemeClr val="bg1">
                <a:alpha val="0"/>
              </a:schemeClr>
            </a:solidFill>
          </a:ln>
        </p:spPr>
        <p:txBody>
          <a:bodyPr wrap="square" rtlCol="0">
            <a:spAutoFit/>
          </a:bodyPr>
          <a:lstStyle/>
          <a:p>
            <a:pPr>
              <a:lnSpc>
                <a:spcPts val="2360"/>
              </a:lnSpc>
            </a:pPr>
            <a:r>
              <a:rPr lang="en-US" sz="1600" i="1" dirty="0">
                <a:solidFill>
                  <a:schemeClr val="bg1"/>
                </a:solidFill>
              </a:rPr>
              <a:t>“Most strategy dialogues end up with executives talking at cross-purposes because … nobody knows exactly what is meant by </a:t>
            </a:r>
            <a:r>
              <a:rPr lang="en-US" sz="1600" b="1" i="1" dirty="0">
                <a:solidFill>
                  <a:schemeClr val="bg1"/>
                </a:solidFill>
              </a:rPr>
              <a:t>vision</a:t>
            </a:r>
            <a:r>
              <a:rPr lang="en-US" sz="1600" i="1" dirty="0">
                <a:solidFill>
                  <a:schemeClr val="bg1"/>
                </a:solidFill>
              </a:rPr>
              <a:t> and </a:t>
            </a:r>
            <a:r>
              <a:rPr lang="en-US" sz="1600" b="1" i="1" dirty="0">
                <a:solidFill>
                  <a:schemeClr val="bg1"/>
                </a:solidFill>
              </a:rPr>
              <a:t>strategy</a:t>
            </a:r>
            <a:r>
              <a:rPr lang="en-US" sz="1600" i="1" dirty="0">
                <a:solidFill>
                  <a:schemeClr val="bg1"/>
                </a:solidFill>
              </a:rPr>
              <a:t>, and no two people ever quite agree on which topics belong where. </a:t>
            </a:r>
          </a:p>
          <a:p>
            <a:pPr>
              <a:lnSpc>
                <a:spcPts val="2360"/>
              </a:lnSpc>
            </a:pPr>
            <a:endParaRPr lang="en-US" sz="1600" i="1" dirty="0">
              <a:solidFill>
                <a:schemeClr val="bg1"/>
              </a:solidFill>
            </a:endParaRPr>
          </a:p>
          <a:p>
            <a:pPr>
              <a:lnSpc>
                <a:spcPts val="2360"/>
              </a:lnSpc>
            </a:pPr>
            <a:r>
              <a:rPr lang="en-US" sz="1600" i="1" dirty="0">
                <a:solidFill>
                  <a:schemeClr val="bg1"/>
                </a:solidFill>
              </a:rPr>
              <a:t>That is why, when you ask members of an executive team to describe and explain the corporate strategy, you frequently get wildly different answers. We just don’t have a good business discipline for converging on issues this abstract.”</a:t>
            </a:r>
            <a:br>
              <a:rPr lang="en-US" sz="1600" i="1" dirty="0">
                <a:solidFill>
                  <a:schemeClr val="bg1"/>
                </a:solidFill>
              </a:rPr>
            </a:br>
            <a:endParaRPr lang="en-US" sz="1600" i="1" dirty="0">
              <a:solidFill>
                <a:schemeClr val="bg1"/>
              </a:solidFill>
            </a:endParaRPr>
          </a:p>
          <a:p>
            <a:pPr algn="r"/>
            <a:r>
              <a:rPr lang="en-US" i="1" dirty="0">
                <a:solidFill>
                  <a:schemeClr val="bg1"/>
                </a:solidFill>
              </a:rPr>
              <a:t>                                     —Geoffrey Moore</a:t>
            </a:r>
            <a:br>
              <a:rPr lang="en-US" i="1" dirty="0">
                <a:solidFill>
                  <a:schemeClr val="bg1"/>
                </a:solidFill>
              </a:rPr>
            </a:br>
            <a:r>
              <a:rPr lang="en-US" sz="1400" i="1" dirty="0">
                <a:solidFill>
                  <a:schemeClr val="bg1"/>
                </a:solidFill>
              </a:rPr>
              <a:t>Escape Velocity</a:t>
            </a:r>
          </a:p>
          <a:p>
            <a:pPr algn="l"/>
            <a:endParaRPr lang="en-US" i="1" dirty="0">
              <a:solidFill>
                <a:schemeClr val="bg1"/>
              </a:solidFill>
            </a:endParaRPr>
          </a:p>
        </p:txBody>
      </p:sp>
      <p:pic>
        <p:nvPicPr>
          <p:cNvPr id="8" name="Picture 7"/>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737912" y="1217634"/>
            <a:ext cx="1819655" cy="2270005"/>
          </a:xfrm>
          <a:prstGeom prst="rect">
            <a:avLst/>
          </a:prstGeom>
        </p:spPr>
      </p:pic>
    </p:spTree>
    <p:extLst>
      <p:ext uri="{BB962C8B-B14F-4D97-AF65-F5344CB8AC3E}">
        <p14:creationId xmlns:p14="http://schemas.microsoft.com/office/powerpoint/2010/main" val="428934411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pply SAFe Lean Portfolio Management</a:t>
            </a:r>
          </a:p>
        </p:txBody>
      </p:sp>
      <p:pic>
        <p:nvPicPr>
          <p:cNvPr id="20" name="Picture 19"/>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612807" y="1118931"/>
            <a:ext cx="1516465" cy="857133"/>
          </a:xfrm>
          <a:prstGeom prst="rect">
            <a:avLst/>
          </a:prstGeom>
        </p:spPr>
      </p:pic>
      <p:sp>
        <p:nvSpPr>
          <p:cNvPr id="21" name="Isosceles Triangle 20"/>
          <p:cNvSpPr/>
          <p:nvPr/>
        </p:nvSpPr>
        <p:spPr>
          <a:xfrm>
            <a:off x="2273356" y="2754341"/>
            <a:ext cx="2243955" cy="1561243"/>
          </a:xfrm>
          <a:prstGeom prst="triangle">
            <a:avLst/>
          </a:prstGeom>
          <a:solidFill>
            <a:srgbClr val="5A81C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22" name="Straight Connector 21"/>
          <p:cNvCxnSpPr/>
          <p:nvPr/>
        </p:nvCxnSpPr>
        <p:spPr>
          <a:xfrm>
            <a:off x="5285458" y="995070"/>
            <a:ext cx="1640417" cy="0"/>
          </a:xfrm>
          <a:prstGeom prst="line">
            <a:avLst/>
          </a:prstGeom>
          <a:noFill/>
          <a:ln w="22225" cap="flat" cmpd="sng" algn="ctr">
            <a:gradFill flip="none" rotWithShape="1">
              <a:gsLst>
                <a:gs pos="0">
                  <a:srgbClr val="FFFFFF">
                    <a:alpha val="0"/>
                  </a:srgbClr>
                </a:gs>
                <a:gs pos="50000">
                  <a:schemeClr val="bg1"/>
                </a:gs>
                <a:gs pos="100000">
                  <a:srgbClr val="FFFFFF">
                    <a:alpha val="0"/>
                  </a:srgbClr>
                </a:gs>
              </a:gsLst>
              <a:lin ang="0" scaled="1"/>
              <a:tileRect/>
            </a:gradFill>
            <a:prstDash val="solid"/>
          </a:ln>
          <a:effectLst/>
        </p:spPr>
      </p:cxnSp>
      <p:cxnSp>
        <p:nvCxnSpPr>
          <p:cNvPr id="40" name="Straight Connector 39"/>
          <p:cNvCxnSpPr/>
          <p:nvPr/>
        </p:nvCxnSpPr>
        <p:spPr>
          <a:xfrm>
            <a:off x="5285458" y="995070"/>
            <a:ext cx="1640417" cy="0"/>
          </a:xfrm>
          <a:prstGeom prst="line">
            <a:avLst/>
          </a:prstGeom>
          <a:noFill/>
          <a:ln w="22225" cap="flat" cmpd="sng" algn="ctr">
            <a:gradFill flip="none" rotWithShape="1">
              <a:gsLst>
                <a:gs pos="0">
                  <a:srgbClr val="FFFFFF">
                    <a:alpha val="0"/>
                  </a:srgbClr>
                </a:gs>
                <a:gs pos="50000">
                  <a:schemeClr val="bg1"/>
                </a:gs>
                <a:gs pos="100000">
                  <a:srgbClr val="FFFFFF">
                    <a:alpha val="0"/>
                  </a:srgbClr>
                </a:gs>
              </a:gsLst>
              <a:lin ang="0" scaled="1"/>
              <a:tileRect/>
            </a:gradFill>
            <a:prstDash val="solid"/>
          </a:ln>
          <a:effectLst/>
        </p:spPr>
      </p:cxnSp>
      <p:sp>
        <p:nvSpPr>
          <p:cNvPr id="41" name="TextBox 40"/>
          <p:cNvSpPr txBox="1"/>
          <p:nvPr/>
        </p:nvSpPr>
        <p:spPr>
          <a:xfrm>
            <a:off x="884770" y="876025"/>
            <a:ext cx="3160185" cy="1293496"/>
          </a:xfrm>
          <a:prstGeom prst="rect">
            <a:avLst/>
          </a:prstGeom>
          <a:noFill/>
        </p:spPr>
        <p:txBody>
          <a:bodyPr wrap="square" rtlCol="0">
            <a:spAutoFit/>
          </a:bodyPr>
          <a:lstStyle/>
          <a:p>
            <a:pPr marL="182563" indent="-182563">
              <a:lnSpc>
                <a:spcPct val="110000"/>
              </a:lnSpc>
              <a:spcBef>
                <a:spcPts val="300"/>
              </a:spcBef>
              <a:spcAft>
                <a:spcPts val="500"/>
              </a:spcAft>
              <a:buFont typeface="Arial" charset="0"/>
              <a:buChar char="•"/>
            </a:pPr>
            <a:r>
              <a:rPr lang="en-US" sz="1500" dirty="0">
                <a:latin typeface="Arial" charset="0"/>
                <a:ea typeface="Arial" charset="0"/>
                <a:cs typeface="Arial" charset="0"/>
              </a:rPr>
              <a:t>Connect the portfolio to enterprise strategy </a:t>
            </a:r>
          </a:p>
          <a:p>
            <a:pPr marL="182563" indent="-182563">
              <a:lnSpc>
                <a:spcPct val="110000"/>
              </a:lnSpc>
              <a:spcBef>
                <a:spcPts val="300"/>
              </a:spcBef>
              <a:spcAft>
                <a:spcPts val="500"/>
              </a:spcAft>
              <a:buFont typeface="Arial" charset="0"/>
              <a:buChar char="•"/>
            </a:pPr>
            <a:r>
              <a:rPr lang="en-US" sz="1500" dirty="0">
                <a:latin typeface="Arial" charset="0"/>
                <a:ea typeface="Arial" charset="0"/>
                <a:cs typeface="Arial" charset="0"/>
              </a:rPr>
              <a:t>Fund Value Streams</a:t>
            </a:r>
          </a:p>
          <a:p>
            <a:pPr marL="182563" indent="-182563">
              <a:lnSpc>
                <a:spcPct val="110000"/>
              </a:lnSpc>
              <a:spcBef>
                <a:spcPts val="300"/>
              </a:spcBef>
              <a:spcAft>
                <a:spcPts val="500"/>
              </a:spcAft>
              <a:buFont typeface="Arial" charset="0"/>
              <a:buChar char="•"/>
            </a:pPr>
            <a:r>
              <a:rPr lang="en-US" sz="1500" dirty="0">
                <a:latin typeface="Arial" charset="0"/>
                <a:ea typeface="Arial" charset="0"/>
                <a:cs typeface="Arial" charset="0"/>
              </a:rPr>
              <a:t>Establish portfolio flow</a:t>
            </a:r>
          </a:p>
        </p:txBody>
      </p:sp>
      <p:sp>
        <p:nvSpPr>
          <p:cNvPr id="42" name="TextBox 41"/>
          <p:cNvSpPr txBox="1"/>
          <p:nvPr/>
        </p:nvSpPr>
        <p:spPr>
          <a:xfrm>
            <a:off x="6612861" y="2416401"/>
            <a:ext cx="2540763" cy="1801327"/>
          </a:xfrm>
          <a:prstGeom prst="rect">
            <a:avLst/>
          </a:prstGeom>
          <a:noFill/>
        </p:spPr>
        <p:txBody>
          <a:bodyPr wrap="square" rtlCol="0">
            <a:spAutoFit/>
          </a:bodyPr>
          <a:lstStyle/>
          <a:p>
            <a:pPr marL="182563" indent="-182563">
              <a:lnSpc>
                <a:spcPct val="110000"/>
              </a:lnSpc>
              <a:spcBef>
                <a:spcPts val="300"/>
              </a:spcBef>
              <a:spcAft>
                <a:spcPts val="500"/>
              </a:spcAft>
              <a:buFont typeface="Arial" charset="0"/>
              <a:buChar char="•"/>
            </a:pPr>
            <a:r>
              <a:rPr lang="en-US" sz="1500" dirty="0">
                <a:latin typeface="Arial" charset="0"/>
                <a:ea typeface="Arial" charset="0"/>
                <a:cs typeface="Arial" charset="0"/>
              </a:rPr>
              <a:t>Support Agile PMO, LACE, RTE and </a:t>
            </a:r>
            <a:br>
              <a:rPr lang="en-US" sz="1500" dirty="0">
                <a:latin typeface="Arial" charset="0"/>
                <a:ea typeface="Arial" charset="0"/>
                <a:cs typeface="Arial" charset="0"/>
              </a:rPr>
            </a:br>
            <a:r>
              <a:rPr lang="en-US" sz="1500" dirty="0">
                <a:latin typeface="Arial" charset="0"/>
                <a:ea typeface="Arial" charset="0"/>
                <a:cs typeface="Arial" charset="0"/>
              </a:rPr>
              <a:t>SM CoP</a:t>
            </a:r>
          </a:p>
          <a:p>
            <a:pPr marL="182563" indent="-182563">
              <a:lnSpc>
                <a:spcPct val="110000"/>
              </a:lnSpc>
              <a:spcBef>
                <a:spcPts val="300"/>
              </a:spcBef>
              <a:spcAft>
                <a:spcPts val="500"/>
              </a:spcAft>
              <a:buFont typeface="Arial" charset="0"/>
              <a:buChar char="•"/>
            </a:pPr>
            <a:r>
              <a:rPr lang="en-US" sz="1500" dirty="0">
                <a:latin typeface="Arial" charset="0"/>
                <a:ea typeface="Arial" charset="0"/>
                <a:cs typeface="Arial" charset="0"/>
              </a:rPr>
              <a:t>Coordinate Value Streams</a:t>
            </a:r>
          </a:p>
          <a:p>
            <a:pPr marL="182563" indent="-182563">
              <a:lnSpc>
                <a:spcPct val="110000"/>
              </a:lnSpc>
              <a:spcBef>
                <a:spcPts val="300"/>
              </a:spcBef>
              <a:spcAft>
                <a:spcPts val="500"/>
              </a:spcAft>
              <a:buFont typeface="Arial" charset="0"/>
              <a:buChar char="•"/>
            </a:pPr>
            <a:r>
              <a:rPr lang="en-US" sz="1500" dirty="0">
                <a:latin typeface="Arial" charset="0"/>
                <a:ea typeface="Arial" charset="0"/>
                <a:cs typeface="Arial" charset="0"/>
              </a:rPr>
              <a:t>Sustain and improve</a:t>
            </a:r>
          </a:p>
        </p:txBody>
      </p:sp>
      <p:cxnSp>
        <p:nvCxnSpPr>
          <p:cNvPr id="43" name="Straight Connector 42"/>
          <p:cNvCxnSpPr/>
          <p:nvPr/>
        </p:nvCxnSpPr>
        <p:spPr>
          <a:xfrm>
            <a:off x="3339050" y="1333500"/>
            <a:ext cx="1043252" cy="404066"/>
          </a:xfrm>
          <a:prstGeom prst="line">
            <a:avLst/>
          </a:prstGeom>
          <a:ln w="9525" cmpd="sng">
            <a:solidFill>
              <a:srgbClr val="656253"/>
            </a:solidFill>
          </a:ln>
          <a:effectLst/>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p:nvCxnSpPr>
        <p:spPr>
          <a:xfrm flipV="1">
            <a:off x="6020767" y="3176712"/>
            <a:ext cx="628196" cy="329988"/>
          </a:xfrm>
          <a:prstGeom prst="line">
            <a:avLst/>
          </a:prstGeom>
          <a:ln w="9525" cmpd="sng">
            <a:solidFill>
              <a:srgbClr val="656253"/>
            </a:solidFill>
          </a:ln>
          <a:effectLst/>
        </p:spPr>
        <p:style>
          <a:lnRef idx="2">
            <a:schemeClr val="accent1"/>
          </a:lnRef>
          <a:fillRef idx="0">
            <a:schemeClr val="accent1"/>
          </a:fillRef>
          <a:effectRef idx="1">
            <a:schemeClr val="accent1"/>
          </a:effectRef>
          <a:fontRef idx="minor">
            <a:schemeClr val="tx1"/>
          </a:fontRef>
        </p:style>
      </p:cxnSp>
      <p:cxnSp>
        <p:nvCxnSpPr>
          <p:cNvPr id="45" name="Straight Connector 44"/>
          <p:cNvCxnSpPr/>
          <p:nvPr/>
        </p:nvCxnSpPr>
        <p:spPr>
          <a:xfrm>
            <a:off x="2428898" y="3053350"/>
            <a:ext cx="744971" cy="218553"/>
          </a:xfrm>
          <a:prstGeom prst="line">
            <a:avLst/>
          </a:prstGeom>
          <a:ln w="9525" cmpd="sng">
            <a:solidFill>
              <a:srgbClr val="656253"/>
            </a:solidFill>
          </a:ln>
          <a:effectLst/>
        </p:spPr>
        <p:style>
          <a:lnRef idx="2">
            <a:schemeClr val="accent1"/>
          </a:lnRef>
          <a:fillRef idx="0">
            <a:schemeClr val="accent1"/>
          </a:fillRef>
          <a:effectRef idx="1">
            <a:schemeClr val="accent1"/>
          </a:effectRef>
          <a:fontRef idx="minor">
            <a:schemeClr val="tx1"/>
          </a:fontRef>
        </p:style>
      </p:cxnSp>
      <p:sp>
        <p:nvSpPr>
          <p:cNvPr id="46" name="TextBox 45"/>
          <p:cNvSpPr txBox="1"/>
          <p:nvPr/>
        </p:nvSpPr>
        <p:spPr>
          <a:xfrm>
            <a:off x="2595155" y="3586226"/>
            <a:ext cx="1506077" cy="615553"/>
          </a:xfrm>
          <a:prstGeom prst="rect">
            <a:avLst/>
          </a:prstGeom>
          <a:solidFill>
            <a:schemeClr val="bg1">
              <a:alpha val="0"/>
            </a:schemeClr>
          </a:solidFill>
          <a:ln>
            <a:solidFill>
              <a:schemeClr val="bg1">
                <a:alpha val="0"/>
              </a:schemeClr>
            </a:solidFill>
          </a:ln>
        </p:spPr>
        <p:txBody>
          <a:bodyPr wrap="square" rtlCol="0">
            <a:spAutoFit/>
          </a:bodyPr>
          <a:lstStyle/>
          <a:p>
            <a:pPr algn="ctr"/>
            <a:r>
              <a:rPr lang="en-US" sz="1700" dirty="0">
                <a:solidFill>
                  <a:schemeClr val="bg1"/>
                </a:solidFill>
                <a:latin typeface="Arial"/>
                <a:cs typeface="Arial"/>
              </a:rPr>
              <a:t>Lean</a:t>
            </a:r>
          </a:p>
          <a:p>
            <a:pPr algn="ctr"/>
            <a:r>
              <a:rPr lang="en-US" sz="1700" dirty="0">
                <a:solidFill>
                  <a:schemeClr val="bg1"/>
                </a:solidFill>
                <a:latin typeface="Arial"/>
                <a:cs typeface="Arial"/>
              </a:rPr>
              <a:t>Governance</a:t>
            </a:r>
          </a:p>
        </p:txBody>
      </p:sp>
      <p:sp>
        <p:nvSpPr>
          <p:cNvPr id="47" name="U-Turn Arrow 46"/>
          <p:cNvSpPr/>
          <p:nvPr/>
        </p:nvSpPr>
        <p:spPr>
          <a:xfrm flipH="1" flipV="1">
            <a:off x="3966737" y="4021050"/>
            <a:ext cx="1388324" cy="912314"/>
          </a:xfrm>
          <a:prstGeom prst="uturnArrow">
            <a:avLst>
              <a:gd name="adj1" fmla="val 24020"/>
              <a:gd name="adj2" fmla="val 25000"/>
              <a:gd name="adj3" fmla="val 25000"/>
              <a:gd name="adj4" fmla="val 69593"/>
              <a:gd name="adj5" fmla="val 100000"/>
            </a:avLst>
          </a:prstGeom>
          <a:solidFill>
            <a:schemeClr val="bg1">
              <a:lumMod val="75000"/>
            </a:schemeClr>
          </a:solidFill>
          <a:ln w="19050" cmpd="sng">
            <a:solidFill>
              <a:schemeClr val="bg1"/>
            </a:solidFill>
          </a:ln>
          <a:effectLst>
            <a:outerShdw blurRad="69850" dist="38100" dir="5400000" rotWithShape="0">
              <a:srgbClr val="000000">
                <a:alpha val="24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48" name="Isosceles Triangle 18"/>
          <p:cNvSpPr/>
          <p:nvPr/>
        </p:nvSpPr>
        <p:spPr>
          <a:xfrm>
            <a:off x="4517311" y="2754341"/>
            <a:ext cx="2243955" cy="1561243"/>
          </a:xfrm>
          <a:prstGeom prst="triangle">
            <a:avLst/>
          </a:prstGeom>
          <a:solidFill>
            <a:srgbClr val="5A81C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9" name="TextBox 48"/>
          <p:cNvSpPr txBox="1"/>
          <p:nvPr/>
        </p:nvSpPr>
        <p:spPr>
          <a:xfrm>
            <a:off x="4805095" y="3392920"/>
            <a:ext cx="1665393" cy="877163"/>
          </a:xfrm>
          <a:prstGeom prst="rect">
            <a:avLst/>
          </a:prstGeom>
          <a:solidFill>
            <a:schemeClr val="bg1">
              <a:alpha val="0"/>
            </a:schemeClr>
          </a:solidFill>
          <a:ln>
            <a:solidFill>
              <a:schemeClr val="bg1">
                <a:alpha val="0"/>
              </a:schemeClr>
            </a:solidFill>
          </a:ln>
        </p:spPr>
        <p:txBody>
          <a:bodyPr wrap="square" rtlCol="0">
            <a:spAutoFit/>
          </a:bodyPr>
          <a:lstStyle/>
          <a:p>
            <a:pPr algn="ctr"/>
            <a:r>
              <a:rPr lang="en-US" sz="1700" dirty="0">
                <a:solidFill>
                  <a:schemeClr val="bg1"/>
                </a:solidFill>
                <a:latin typeface="Arial"/>
                <a:cs typeface="Arial"/>
              </a:rPr>
              <a:t>Agile </a:t>
            </a:r>
          </a:p>
          <a:p>
            <a:pPr algn="ctr"/>
            <a:r>
              <a:rPr lang="en-US" sz="1700" dirty="0">
                <a:solidFill>
                  <a:schemeClr val="bg1"/>
                </a:solidFill>
                <a:latin typeface="Arial"/>
                <a:cs typeface="Arial"/>
              </a:rPr>
              <a:t>Portfolio Operations </a:t>
            </a:r>
          </a:p>
        </p:txBody>
      </p:sp>
      <p:sp>
        <p:nvSpPr>
          <p:cNvPr id="50" name="U-Turn Arrow 49"/>
          <p:cNvSpPr/>
          <p:nvPr/>
        </p:nvSpPr>
        <p:spPr>
          <a:xfrm rot="14040000" flipH="1" flipV="1">
            <a:off x="5014789" y="2234107"/>
            <a:ext cx="1388324" cy="912314"/>
          </a:xfrm>
          <a:prstGeom prst="uturnArrow">
            <a:avLst>
              <a:gd name="adj1" fmla="val 24020"/>
              <a:gd name="adj2" fmla="val 25000"/>
              <a:gd name="adj3" fmla="val 25000"/>
              <a:gd name="adj4" fmla="val 69593"/>
              <a:gd name="adj5" fmla="val 100000"/>
            </a:avLst>
          </a:prstGeom>
          <a:solidFill>
            <a:schemeClr val="bg1">
              <a:lumMod val="75000"/>
            </a:schemeClr>
          </a:solidFill>
          <a:ln w="19050" cmpd="sng">
            <a:solidFill>
              <a:schemeClr val="bg1"/>
            </a:solidFill>
          </a:ln>
          <a:effectLst>
            <a:outerShdw blurRad="69850" dist="38100" dir="5400000" rotWithShape="0">
              <a:srgbClr val="000000">
                <a:alpha val="24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51" name="Isosceles Triangle 19"/>
          <p:cNvSpPr/>
          <p:nvPr/>
        </p:nvSpPr>
        <p:spPr>
          <a:xfrm>
            <a:off x="3395334" y="1195443"/>
            <a:ext cx="2243955" cy="1561243"/>
          </a:xfrm>
          <a:prstGeom prst="triangle">
            <a:avLst/>
          </a:prstGeom>
          <a:solidFill>
            <a:srgbClr val="5A81C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2" name="TextBox 51"/>
          <p:cNvSpPr txBox="1"/>
          <p:nvPr/>
        </p:nvSpPr>
        <p:spPr>
          <a:xfrm>
            <a:off x="3339050" y="1860554"/>
            <a:ext cx="2371791" cy="877163"/>
          </a:xfrm>
          <a:prstGeom prst="rect">
            <a:avLst/>
          </a:prstGeom>
          <a:solidFill>
            <a:schemeClr val="bg1">
              <a:alpha val="0"/>
            </a:schemeClr>
          </a:solidFill>
          <a:ln>
            <a:solidFill>
              <a:schemeClr val="bg1">
                <a:alpha val="0"/>
              </a:schemeClr>
            </a:solidFill>
          </a:ln>
        </p:spPr>
        <p:txBody>
          <a:bodyPr wrap="square" rtlCol="0">
            <a:spAutoFit/>
          </a:bodyPr>
          <a:lstStyle/>
          <a:p>
            <a:pPr algn="ctr"/>
            <a:r>
              <a:rPr lang="en-US" sz="1700" dirty="0">
                <a:solidFill>
                  <a:schemeClr val="bg1"/>
                </a:solidFill>
                <a:latin typeface="Arial"/>
                <a:cs typeface="Arial"/>
              </a:rPr>
              <a:t>Strategy &amp;  </a:t>
            </a:r>
            <a:br>
              <a:rPr lang="en-US" sz="1700" dirty="0">
                <a:solidFill>
                  <a:schemeClr val="bg1"/>
                </a:solidFill>
                <a:latin typeface="Arial"/>
                <a:cs typeface="Arial"/>
              </a:rPr>
            </a:br>
            <a:r>
              <a:rPr lang="en-US" sz="1700" dirty="0">
                <a:solidFill>
                  <a:schemeClr val="bg1"/>
                </a:solidFill>
                <a:latin typeface="Arial"/>
                <a:cs typeface="Arial"/>
              </a:rPr>
              <a:t>Investment</a:t>
            </a:r>
          </a:p>
          <a:p>
            <a:pPr algn="ctr"/>
            <a:r>
              <a:rPr lang="en-US" sz="1700" dirty="0">
                <a:solidFill>
                  <a:schemeClr val="bg1"/>
                </a:solidFill>
                <a:latin typeface="Arial"/>
                <a:cs typeface="Arial"/>
              </a:rPr>
              <a:t>Funding</a:t>
            </a:r>
          </a:p>
        </p:txBody>
      </p:sp>
      <p:sp>
        <p:nvSpPr>
          <p:cNvPr id="54" name="TextBox 53"/>
          <p:cNvSpPr txBox="1"/>
          <p:nvPr/>
        </p:nvSpPr>
        <p:spPr>
          <a:xfrm>
            <a:off x="72964" y="2583883"/>
            <a:ext cx="2550331" cy="1801327"/>
          </a:xfrm>
          <a:prstGeom prst="rect">
            <a:avLst/>
          </a:prstGeom>
          <a:noFill/>
        </p:spPr>
        <p:txBody>
          <a:bodyPr wrap="square" rtlCol="0">
            <a:spAutoFit/>
          </a:bodyPr>
          <a:lstStyle/>
          <a:p>
            <a:pPr marL="182563" indent="-182563">
              <a:lnSpc>
                <a:spcPct val="110000"/>
              </a:lnSpc>
              <a:spcBef>
                <a:spcPts val="300"/>
              </a:spcBef>
              <a:spcAft>
                <a:spcPts val="500"/>
              </a:spcAft>
              <a:buFont typeface="Arial" charset="0"/>
              <a:buChar char="•"/>
            </a:pPr>
            <a:r>
              <a:rPr lang="en-US" sz="1500" dirty="0">
                <a:latin typeface="Arial" charset="0"/>
                <a:ea typeface="Arial" charset="0"/>
                <a:cs typeface="Arial" charset="0"/>
              </a:rPr>
              <a:t>Forecast and budget dynamically</a:t>
            </a:r>
          </a:p>
          <a:p>
            <a:pPr marL="182563" indent="-182563">
              <a:lnSpc>
                <a:spcPct val="110000"/>
              </a:lnSpc>
              <a:spcBef>
                <a:spcPts val="300"/>
              </a:spcBef>
              <a:spcAft>
                <a:spcPts val="500"/>
              </a:spcAft>
              <a:buFont typeface="Arial" charset="0"/>
              <a:buChar char="•"/>
            </a:pPr>
            <a:r>
              <a:rPr lang="en-US" sz="1500" dirty="0">
                <a:latin typeface="Arial" charset="0"/>
                <a:ea typeface="Arial" charset="0"/>
                <a:cs typeface="Arial" charset="0"/>
              </a:rPr>
              <a:t>Measure Lean portfolio performance</a:t>
            </a:r>
          </a:p>
          <a:p>
            <a:pPr marL="182563" indent="-182563">
              <a:lnSpc>
                <a:spcPct val="110000"/>
              </a:lnSpc>
              <a:spcBef>
                <a:spcPts val="300"/>
              </a:spcBef>
              <a:spcAft>
                <a:spcPts val="500"/>
              </a:spcAft>
              <a:buFont typeface="Arial" charset="0"/>
              <a:buChar char="•"/>
            </a:pPr>
            <a:r>
              <a:rPr lang="en-US" sz="1500" dirty="0">
                <a:latin typeface="Arial" charset="0"/>
                <a:ea typeface="Arial" charset="0"/>
                <a:cs typeface="Arial" charset="0"/>
              </a:rPr>
              <a:t>Coordinate continuous compliance</a:t>
            </a:r>
          </a:p>
        </p:txBody>
      </p:sp>
    </p:spTree>
    <p:extLst>
      <p:ext uri="{BB962C8B-B14F-4D97-AF65-F5344CB8AC3E}">
        <p14:creationId xmlns:p14="http://schemas.microsoft.com/office/powerpoint/2010/main" val="211006295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uild big systems with Large Solution SAFe</a:t>
            </a:r>
          </a:p>
        </p:txBody>
      </p:sp>
      <p:pic>
        <p:nvPicPr>
          <p:cNvPr id="5" name="Picture 4"/>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030287" y="924202"/>
            <a:ext cx="6957968" cy="3887464"/>
          </a:xfrm>
          <a:prstGeom prst="rect">
            <a:avLst/>
          </a:prstGeom>
        </p:spPr>
      </p:pic>
    </p:spTree>
    <p:extLst>
      <p:ext uri="{BB962C8B-B14F-4D97-AF65-F5344CB8AC3E}">
        <p14:creationId xmlns:p14="http://schemas.microsoft.com/office/powerpoint/2010/main" val="191141688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ply Lean Systems Engineering</a:t>
            </a:r>
          </a:p>
        </p:txBody>
      </p:sp>
      <p:pic>
        <p:nvPicPr>
          <p:cNvPr id="4" name="Picture 3">
            <a:extLst>
              <a:ext uri="{FF2B5EF4-FFF2-40B4-BE49-F238E27FC236}">
                <a16:creationId xmlns:a16="http://schemas.microsoft.com/office/drawing/2014/main" id="{C656D888-110F-8D44-8217-E048B74CAB1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39497" y="821642"/>
            <a:ext cx="7415784" cy="1869304"/>
          </a:xfrm>
          <a:prstGeom prst="rect">
            <a:avLst/>
          </a:prstGeom>
        </p:spPr>
      </p:pic>
      <p:sp>
        <p:nvSpPr>
          <p:cNvPr id="6" name="TextBox 5">
            <a:extLst>
              <a:ext uri="{FF2B5EF4-FFF2-40B4-BE49-F238E27FC236}">
                <a16:creationId xmlns:a16="http://schemas.microsoft.com/office/drawing/2014/main" id="{C5FAD041-E975-DE4E-B28C-5D320118A1EE}"/>
              </a:ext>
            </a:extLst>
          </p:cNvPr>
          <p:cNvSpPr txBox="1"/>
          <p:nvPr/>
        </p:nvSpPr>
        <p:spPr>
          <a:xfrm>
            <a:off x="1069940" y="2849092"/>
            <a:ext cx="6885341" cy="1772793"/>
          </a:xfrm>
          <a:prstGeom prst="rect">
            <a:avLst/>
          </a:prstGeom>
          <a:noFill/>
        </p:spPr>
        <p:txBody>
          <a:bodyPr wrap="square" rtlCol="0">
            <a:spAutoFit/>
          </a:bodyPr>
          <a:lstStyle/>
          <a:p>
            <a:pPr marL="304800" indent="-304800" fontAlgn="base">
              <a:lnSpc>
                <a:spcPct val="110000"/>
              </a:lnSpc>
              <a:spcBef>
                <a:spcPts val="600"/>
              </a:spcBef>
              <a:spcAft>
                <a:spcPts val="600"/>
              </a:spcAft>
              <a:buClr>
                <a:schemeClr val="tx1">
                  <a:lumMod val="50000"/>
                  <a:lumOff val="50000"/>
                </a:schemeClr>
              </a:buClr>
              <a:buSzPct val="100000"/>
              <a:buFont typeface="Webdings" pitchFamily="18" charset="2"/>
              <a:buChar char="4"/>
              <a:defRPr/>
            </a:pPr>
            <a:r>
              <a:rPr lang="en-IN" dirty="0">
                <a:solidFill>
                  <a:srgbClr val="3C3C3C"/>
                </a:solidFill>
              </a:rPr>
              <a:t>Solution Trains coordinate ARTs and suppliers</a:t>
            </a:r>
          </a:p>
          <a:p>
            <a:pPr marL="304800" indent="-304800" fontAlgn="base">
              <a:lnSpc>
                <a:spcPct val="110000"/>
              </a:lnSpc>
              <a:spcBef>
                <a:spcPts val="600"/>
              </a:spcBef>
              <a:spcAft>
                <a:spcPts val="600"/>
              </a:spcAft>
              <a:buClr>
                <a:schemeClr val="tx1">
                  <a:lumMod val="50000"/>
                  <a:lumOff val="50000"/>
                </a:schemeClr>
              </a:buClr>
              <a:buSzPct val="100000"/>
              <a:buFont typeface="Webdings" pitchFamily="18" charset="2"/>
              <a:buChar char="4"/>
              <a:defRPr/>
            </a:pPr>
            <a:r>
              <a:rPr lang="en-IN" dirty="0">
                <a:solidFill>
                  <a:srgbClr val="3C3C3C"/>
                </a:solidFill>
              </a:rPr>
              <a:t>Capture fixed and variable Solution Intent</a:t>
            </a:r>
          </a:p>
          <a:p>
            <a:pPr marL="304800" indent="-304800" fontAlgn="base">
              <a:lnSpc>
                <a:spcPct val="110000"/>
              </a:lnSpc>
              <a:spcBef>
                <a:spcPts val="600"/>
              </a:spcBef>
              <a:spcAft>
                <a:spcPts val="600"/>
              </a:spcAft>
              <a:buClr>
                <a:schemeClr val="tx1">
                  <a:lumMod val="50000"/>
                  <a:lumOff val="50000"/>
                </a:schemeClr>
              </a:buClr>
              <a:buSzPct val="100000"/>
              <a:buFont typeface="Webdings" pitchFamily="18" charset="2"/>
              <a:buChar char="4"/>
              <a:defRPr/>
            </a:pPr>
            <a:r>
              <a:rPr lang="en-IN" dirty="0">
                <a:solidFill>
                  <a:srgbClr val="3C3C3C"/>
                </a:solidFill>
              </a:rPr>
              <a:t>Integrate and test the full solution on cadence</a:t>
            </a:r>
          </a:p>
          <a:p>
            <a:pPr marL="304800" indent="-304800" fontAlgn="base">
              <a:lnSpc>
                <a:spcPct val="110000"/>
              </a:lnSpc>
              <a:spcBef>
                <a:spcPts val="600"/>
              </a:spcBef>
              <a:spcAft>
                <a:spcPts val="600"/>
              </a:spcAft>
              <a:buClr>
                <a:schemeClr val="tx1">
                  <a:lumMod val="50000"/>
                  <a:lumOff val="50000"/>
                </a:schemeClr>
              </a:buClr>
              <a:buSzPct val="100000"/>
              <a:buFont typeface="Webdings" pitchFamily="18" charset="2"/>
              <a:buChar char="4"/>
              <a:defRPr/>
            </a:pPr>
            <a:r>
              <a:rPr lang="en-IN" dirty="0">
                <a:solidFill>
                  <a:srgbClr val="3C3C3C"/>
                </a:solidFill>
              </a:rPr>
              <a:t>Implement continuous compliance</a:t>
            </a:r>
          </a:p>
        </p:txBody>
      </p:sp>
    </p:spTree>
    <p:extLst>
      <p:ext uri="{BB962C8B-B14F-4D97-AF65-F5344CB8AC3E}">
        <p14:creationId xmlns:p14="http://schemas.microsoft.com/office/powerpoint/2010/main" val="20278990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ad the transformation</a:t>
            </a:r>
          </a:p>
        </p:txBody>
      </p:sp>
    </p:spTree>
    <p:extLst>
      <p:ext uri="{BB962C8B-B14F-4D97-AF65-F5344CB8AC3E}">
        <p14:creationId xmlns:p14="http://schemas.microsoft.com/office/powerpoint/2010/main" val="342630426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adership foundation</a:t>
            </a:r>
          </a:p>
        </p:txBody>
      </p:sp>
      <p:sp>
        <p:nvSpPr>
          <p:cNvPr id="5" name="TextBox 4"/>
          <p:cNvSpPr txBox="1"/>
          <p:nvPr/>
        </p:nvSpPr>
        <p:spPr>
          <a:xfrm>
            <a:off x="3875315" y="1788426"/>
            <a:ext cx="4371162" cy="1426544"/>
          </a:xfrm>
          <a:prstGeom prst="rect">
            <a:avLst/>
          </a:prstGeom>
          <a:noFill/>
        </p:spPr>
        <p:txBody>
          <a:bodyPr wrap="square" rtlCol="0">
            <a:spAutoFit/>
          </a:bodyPr>
          <a:lstStyle/>
          <a:p>
            <a:pPr>
              <a:lnSpc>
                <a:spcPct val="110000"/>
              </a:lnSpc>
              <a:spcAft>
                <a:spcPts val="900"/>
              </a:spcAft>
            </a:pPr>
            <a:r>
              <a:rPr lang="en-US" i="1" dirty="0">
                <a:solidFill>
                  <a:schemeClr val="accent2"/>
                </a:solidFill>
                <a:latin typeface="Arial"/>
                <a:cs typeface="Arial"/>
              </a:rPr>
              <a:t>People are already doing their best; the problems are with the system. Only management can change the system.</a:t>
            </a:r>
          </a:p>
          <a:p>
            <a:pPr algn="r">
              <a:lnSpc>
                <a:spcPct val="110000"/>
              </a:lnSpc>
            </a:pPr>
            <a:r>
              <a:rPr lang="en-US" i="1" dirty="0">
                <a:solidFill>
                  <a:schemeClr val="accent2"/>
                </a:solidFill>
                <a:latin typeface="Arial"/>
                <a:cs typeface="Arial"/>
              </a:rPr>
              <a:t>—W. Edwards Deming</a:t>
            </a:r>
          </a:p>
        </p:txBody>
      </p:sp>
      <p:sp>
        <p:nvSpPr>
          <p:cNvPr id="32" name="Rounded Rectangle 31"/>
          <p:cNvSpPr/>
          <p:nvPr/>
        </p:nvSpPr>
        <p:spPr bwMode="auto">
          <a:xfrm>
            <a:off x="667893" y="1686002"/>
            <a:ext cx="492635" cy="1560826"/>
          </a:xfrm>
          <a:prstGeom prst="roundRect">
            <a:avLst>
              <a:gd name="adj" fmla="val 4561"/>
            </a:avLst>
          </a:prstGeom>
          <a:solidFill>
            <a:schemeClr val="tx1">
              <a:lumMod val="20000"/>
              <a:lumOff val="80000"/>
            </a:schemeClr>
          </a:solidFill>
          <a:ln w="19050" cap="flat" cmpd="sng" algn="ctr">
            <a:solidFill>
              <a:schemeClr val="tx1">
                <a:lumMod val="40000"/>
                <a:lumOff val="60000"/>
              </a:schemeClr>
            </a:solid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900" i="1" dirty="0">
              <a:latin typeface="Arial"/>
              <a:cs typeface="Arial"/>
            </a:endParaRPr>
          </a:p>
        </p:txBody>
      </p:sp>
      <p:sp>
        <p:nvSpPr>
          <p:cNvPr id="33" name="Rounded Rectangle 32"/>
          <p:cNvSpPr/>
          <p:nvPr/>
        </p:nvSpPr>
        <p:spPr bwMode="auto">
          <a:xfrm>
            <a:off x="1250130" y="1686002"/>
            <a:ext cx="492635" cy="1560826"/>
          </a:xfrm>
          <a:prstGeom prst="roundRect">
            <a:avLst>
              <a:gd name="adj" fmla="val 4561"/>
            </a:avLst>
          </a:prstGeom>
          <a:solidFill>
            <a:schemeClr val="tx1">
              <a:lumMod val="20000"/>
              <a:lumOff val="80000"/>
            </a:schemeClr>
          </a:solidFill>
          <a:ln w="19050" cap="flat" cmpd="sng" algn="ctr">
            <a:solidFill>
              <a:schemeClr val="tx1">
                <a:lumMod val="40000"/>
                <a:lumOff val="60000"/>
              </a:schemeClr>
            </a:solid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900" i="1" dirty="0">
              <a:latin typeface="Arial"/>
              <a:cs typeface="Arial"/>
            </a:endParaRPr>
          </a:p>
        </p:txBody>
      </p:sp>
      <p:sp>
        <p:nvSpPr>
          <p:cNvPr id="34" name="Rounded Rectangle 33"/>
          <p:cNvSpPr/>
          <p:nvPr/>
        </p:nvSpPr>
        <p:spPr bwMode="auto">
          <a:xfrm>
            <a:off x="1832367" y="1686002"/>
            <a:ext cx="492635" cy="1560826"/>
          </a:xfrm>
          <a:prstGeom prst="roundRect">
            <a:avLst>
              <a:gd name="adj" fmla="val 4561"/>
            </a:avLst>
          </a:prstGeom>
          <a:solidFill>
            <a:schemeClr val="tx1">
              <a:lumMod val="20000"/>
              <a:lumOff val="80000"/>
            </a:schemeClr>
          </a:solidFill>
          <a:ln w="19050" cap="flat" cmpd="sng" algn="ctr">
            <a:solidFill>
              <a:schemeClr val="tx1">
                <a:lumMod val="40000"/>
                <a:lumOff val="60000"/>
              </a:schemeClr>
            </a:solid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900" i="1" dirty="0">
              <a:latin typeface="Arial"/>
              <a:cs typeface="Arial"/>
            </a:endParaRPr>
          </a:p>
        </p:txBody>
      </p:sp>
      <p:sp>
        <p:nvSpPr>
          <p:cNvPr id="35" name="Rounded Rectangle 34"/>
          <p:cNvSpPr/>
          <p:nvPr/>
        </p:nvSpPr>
        <p:spPr bwMode="auto">
          <a:xfrm>
            <a:off x="2414604" y="1686002"/>
            <a:ext cx="492635" cy="1560826"/>
          </a:xfrm>
          <a:prstGeom prst="roundRect">
            <a:avLst>
              <a:gd name="adj" fmla="val 4561"/>
            </a:avLst>
          </a:prstGeom>
          <a:solidFill>
            <a:schemeClr val="tx1">
              <a:lumMod val="20000"/>
              <a:lumOff val="80000"/>
            </a:schemeClr>
          </a:solidFill>
          <a:ln w="19050" cap="flat" cmpd="sng" algn="ctr">
            <a:solidFill>
              <a:schemeClr val="tx1">
                <a:lumMod val="40000"/>
                <a:lumOff val="60000"/>
              </a:schemeClr>
            </a:solid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900" i="1" dirty="0">
              <a:latin typeface="Arial"/>
              <a:cs typeface="Arial"/>
            </a:endParaRPr>
          </a:p>
        </p:txBody>
      </p:sp>
      <p:sp>
        <p:nvSpPr>
          <p:cNvPr id="36" name="TextBox 35"/>
          <p:cNvSpPr txBox="1"/>
          <p:nvPr/>
        </p:nvSpPr>
        <p:spPr>
          <a:xfrm rot="16200000">
            <a:off x="191897" y="2245478"/>
            <a:ext cx="1444627" cy="461665"/>
          </a:xfrm>
          <a:prstGeom prst="rect">
            <a:avLst/>
          </a:prstGeom>
          <a:noFill/>
        </p:spPr>
        <p:txBody>
          <a:bodyPr wrap="none" rtlCol="0">
            <a:spAutoFit/>
          </a:bodyPr>
          <a:lstStyle/>
          <a:p>
            <a:pPr algn="ctr"/>
            <a:r>
              <a:rPr lang="en-US" sz="1200" dirty="0">
                <a:latin typeface="Arial"/>
                <a:cs typeface="Arial"/>
              </a:rPr>
              <a:t>Respect for</a:t>
            </a:r>
          </a:p>
          <a:p>
            <a:pPr algn="ctr"/>
            <a:r>
              <a:rPr lang="en-US" sz="1200" dirty="0">
                <a:latin typeface="Arial"/>
                <a:cs typeface="Arial"/>
              </a:rPr>
              <a:t>people and culture</a:t>
            </a:r>
          </a:p>
        </p:txBody>
      </p:sp>
      <p:sp>
        <p:nvSpPr>
          <p:cNvPr id="37" name="TextBox 36"/>
          <p:cNvSpPr txBox="1"/>
          <p:nvPr/>
        </p:nvSpPr>
        <p:spPr>
          <a:xfrm rot="16200000">
            <a:off x="1242209" y="2337811"/>
            <a:ext cx="508473" cy="276999"/>
          </a:xfrm>
          <a:prstGeom prst="rect">
            <a:avLst/>
          </a:prstGeom>
          <a:noFill/>
        </p:spPr>
        <p:txBody>
          <a:bodyPr wrap="none" rtlCol="0">
            <a:spAutoFit/>
          </a:bodyPr>
          <a:lstStyle/>
          <a:p>
            <a:pPr algn="ctr"/>
            <a:r>
              <a:rPr lang="en-US" sz="1200" dirty="0">
                <a:latin typeface="Arial"/>
                <a:cs typeface="Arial"/>
              </a:rPr>
              <a:t>Flow</a:t>
            </a:r>
          </a:p>
        </p:txBody>
      </p:sp>
      <p:sp>
        <p:nvSpPr>
          <p:cNvPr id="38" name="TextBox 37"/>
          <p:cNvSpPr txBox="1"/>
          <p:nvPr/>
        </p:nvSpPr>
        <p:spPr>
          <a:xfrm rot="16200000">
            <a:off x="1632888" y="2337811"/>
            <a:ext cx="891591" cy="276999"/>
          </a:xfrm>
          <a:prstGeom prst="rect">
            <a:avLst/>
          </a:prstGeom>
          <a:noFill/>
        </p:spPr>
        <p:txBody>
          <a:bodyPr wrap="none" rtlCol="0">
            <a:spAutoFit/>
          </a:bodyPr>
          <a:lstStyle/>
          <a:p>
            <a:pPr algn="ctr"/>
            <a:r>
              <a:rPr lang="en-US" sz="1200" dirty="0">
                <a:latin typeface="Arial"/>
                <a:cs typeface="Arial"/>
              </a:rPr>
              <a:t>Innovation</a:t>
            </a:r>
          </a:p>
        </p:txBody>
      </p:sp>
      <p:sp>
        <p:nvSpPr>
          <p:cNvPr id="39" name="TextBox 38"/>
          <p:cNvSpPr txBox="1"/>
          <p:nvPr/>
        </p:nvSpPr>
        <p:spPr>
          <a:xfrm rot="16200000">
            <a:off x="2125359" y="2245478"/>
            <a:ext cx="1071127" cy="461665"/>
          </a:xfrm>
          <a:prstGeom prst="rect">
            <a:avLst/>
          </a:prstGeom>
          <a:noFill/>
        </p:spPr>
        <p:txBody>
          <a:bodyPr wrap="none" rtlCol="0">
            <a:spAutoFit/>
          </a:bodyPr>
          <a:lstStyle/>
          <a:p>
            <a:pPr algn="ctr"/>
            <a:r>
              <a:rPr lang="en-US" sz="1200" dirty="0">
                <a:latin typeface="Arial"/>
                <a:cs typeface="Arial"/>
              </a:rPr>
              <a:t>Relentless</a:t>
            </a:r>
          </a:p>
          <a:p>
            <a:pPr algn="ctr"/>
            <a:r>
              <a:rPr lang="en-US" sz="1200" dirty="0">
                <a:latin typeface="Arial"/>
                <a:cs typeface="Arial"/>
              </a:rPr>
              <a:t>improvement</a:t>
            </a:r>
          </a:p>
        </p:txBody>
      </p:sp>
      <p:sp>
        <p:nvSpPr>
          <p:cNvPr id="40" name="Trapezoid 39"/>
          <p:cNvSpPr/>
          <p:nvPr/>
        </p:nvSpPr>
        <p:spPr bwMode="auto">
          <a:xfrm>
            <a:off x="457201" y="1326993"/>
            <a:ext cx="2714360" cy="411470"/>
          </a:xfrm>
          <a:prstGeom prst="trapezoid">
            <a:avLst>
              <a:gd name="adj" fmla="val 93424"/>
            </a:avLst>
          </a:prstGeom>
          <a:solidFill>
            <a:schemeClr val="tx2">
              <a:lumMod val="50000"/>
              <a:lumOff val="50000"/>
            </a:schemeClr>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r>
              <a:rPr lang="en-US" sz="900" i="1" dirty="0">
                <a:latin typeface="Arial"/>
                <a:cs typeface="Arial"/>
              </a:rPr>
              <a:t>   </a:t>
            </a:r>
          </a:p>
        </p:txBody>
      </p:sp>
      <p:sp>
        <p:nvSpPr>
          <p:cNvPr id="41" name="TextBox 40"/>
          <p:cNvSpPr txBox="1"/>
          <p:nvPr/>
        </p:nvSpPr>
        <p:spPr>
          <a:xfrm>
            <a:off x="1255247" y="1326464"/>
            <a:ext cx="1008866" cy="400110"/>
          </a:xfrm>
          <a:prstGeom prst="rect">
            <a:avLst/>
          </a:prstGeom>
          <a:noFill/>
        </p:spPr>
        <p:txBody>
          <a:bodyPr wrap="none" rtlCol="0">
            <a:spAutoFit/>
          </a:bodyPr>
          <a:lstStyle/>
          <a:p>
            <a:pPr algn="l"/>
            <a:r>
              <a:rPr lang="en-US" sz="2000" dirty="0">
                <a:solidFill>
                  <a:srgbClr val="FFFFFF"/>
                </a:solidFill>
                <a:latin typeface="Arial"/>
                <a:cs typeface="Arial"/>
              </a:rPr>
              <a:t>VALUE</a:t>
            </a:r>
          </a:p>
        </p:txBody>
      </p:sp>
      <p:sp>
        <p:nvSpPr>
          <p:cNvPr id="30" name="Rounded Rectangle 29"/>
          <p:cNvSpPr/>
          <p:nvPr/>
        </p:nvSpPr>
        <p:spPr bwMode="auto">
          <a:xfrm rot="5400000">
            <a:off x="1582456" y="2177620"/>
            <a:ext cx="463850" cy="2483379"/>
          </a:xfrm>
          <a:prstGeom prst="roundRect">
            <a:avLst>
              <a:gd name="adj" fmla="val 4561"/>
            </a:avLst>
          </a:prstGeom>
          <a:solidFill>
            <a:schemeClr val="accent3"/>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900" i="1" dirty="0">
              <a:latin typeface="Arial"/>
              <a:cs typeface="Arial"/>
            </a:endParaRPr>
          </a:p>
        </p:txBody>
      </p:sp>
      <p:sp>
        <p:nvSpPr>
          <p:cNvPr id="31" name="TextBox 30"/>
          <p:cNvSpPr txBox="1"/>
          <p:nvPr/>
        </p:nvSpPr>
        <p:spPr>
          <a:xfrm>
            <a:off x="566437" y="3214970"/>
            <a:ext cx="2474373" cy="400110"/>
          </a:xfrm>
          <a:prstGeom prst="rect">
            <a:avLst/>
          </a:prstGeom>
          <a:solidFill>
            <a:schemeClr val="bg1">
              <a:alpha val="0"/>
            </a:schemeClr>
          </a:solidFill>
          <a:ln>
            <a:solidFill>
              <a:schemeClr val="bg1">
                <a:alpha val="0"/>
              </a:schemeClr>
            </a:solidFill>
          </a:ln>
        </p:spPr>
        <p:txBody>
          <a:bodyPr wrap="square" rtlCol="0">
            <a:spAutoFit/>
          </a:bodyPr>
          <a:lstStyle/>
          <a:p>
            <a:pPr algn="ctr"/>
            <a:r>
              <a:rPr lang="en-US" sz="2000" dirty="0">
                <a:solidFill>
                  <a:schemeClr val="accent4"/>
                </a:solidFill>
                <a:latin typeface="Arial"/>
                <a:cs typeface="Arial"/>
              </a:rPr>
              <a:t>LEADERSHIP</a:t>
            </a:r>
          </a:p>
        </p:txBody>
      </p:sp>
    </p:spTree>
    <p:extLst>
      <p:ext uri="{BB962C8B-B14F-4D97-AF65-F5344CB8AC3E}">
        <p14:creationId xmlns:p14="http://schemas.microsoft.com/office/powerpoint/2010/main" val="19179050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5379308" y="3265944"/>
            <a:ext cx="2403724" cy="683264"/>
          </a:xfrm>
          <a:prstGeom prst="rect">
            <a:avLst/>
          </a:prstGeom>
          <a:noFill/>
        </p:spPr>
        <p:txBody>
          <a:bodyPr wrap="square" rtlCol="0">
            <a:spAutoFit/>
          </a:bodyPr>
          <a:lstStyle/>
          <a:p>
            <a:pPr algn="r">
              <a:lnSpc>
                <a:spcPct val="120000"/>
              </a:lnSpc>
            </a:pPr>
            <a:r>
              <a:rPr lang="en-US" dirty="0">
                <a:solidFill>
                  <a:schemeClr val="bg1"/>
                </a:solidFill>
              </a:rPr>
              <a:t>—Dean Leffingwell</a:t>
            </a:r>
          </a:p>
          <a:p>
            <a:pPr algn="r">
              <a:lnSpc>
                <a:spcPct val="120000"/>
              </a:lnSpc>
            </a:pPr>
            <a:r>
              <a:rPr lang="en-US" sz="1400" dirty="0">
                <a:solidFill>
                  <a:schemeClr val="bg1"/>
                </a:solidFill>
              </a:rPr>
              <a:t>Creator of SAFe</a:t>
            </a:r>
          </a:p>
        </p:txBody>
      </p:sp>
      <p:pic>
        <p:nvPicPr>
          <p:cNvPr id="6" name="Picture 5"/>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609896" y="1149817"/>
            <a:ext cx="1819656" cy="2277623"/>
          </a:xfrm>
          <a:prstGeom prst="rect">
            <a:avLst/>
          </a:prstGeom>
        </p:spPr>
      </p:pic>
      <p:sp>
        <p:nvSpPr>
          <p:cNvPr id="7" name="TextBox 6"/>
          <p:cNvSpPr txBox="1"/>
          <p:nvPr/>
        </p:nvSpPr>
        <p:spPr>
          <a:xfrm>
            <a:off x="2757377" y="1149817"/>
            <a:ext cx="5182181" cy="2343655"/>
          </a:xfrm>
          <a:prstGeom prst="rect">
            <a:avLst/>
          </a:prstGeom>
          <a:noFill/>
        </p:spPr>
        <p:txBody>
          <a:bodyPr wrap="square" rtlCol="0">
            <a:spAutoFit/>
          </a:bodyPr>
          <a:lstStyle/>
          <a:p>
            <a:pPr>
              <a:lnSpc>
                <a:spcPct val="150000"/>
              </a:lnSpc>
            </a:pPr>
            <a:r>
              <a:rPr lang="en-US" sz="2000" i="1" dirty="0">
                <a:solidFill>
                  <a:schemeClr val="bg1"/>
                </a:solidFill>
              </a:rPr>
              <a:t>“Every business is a software business now. </a:t>
            </a:r>
          </a:p>
          <a:p>
            <a:pPr>
              <a:lnSpc>
                <a:spcPct val="150000"/>
              </a:lnSpc>
            </a:pPr>
            <a:r>
              <a:rPr lang="en-US" sz="2000" i="1" dirty="0">
                <a:solidFill>
                  <a:schemeClr val="bg1"/>
                </a:solidFill>
              </a:rPr>
              <a:t>Agility isn't an option, or a thing just for teams, it is a business imperative. But we struggle building big systems </a:t>
            </a:r>
            <a:r>
              <a:rPr lang="mr-IN" sz="2000" i="1" dirty="0">
                <a:solidFill>
                  <a:schemeClr val="bg1"/>
                </a:solidFill>
              </a:rPr>
              <a:t>…</a:t>
            </a:r>
            <a:r>
              <a:rPr lang="en-US" sz="2000" i="1" dirty="0">
                <a:solidFill>
                  <a:schemeClr val="bg1"/>
                </a:solidFill>
              </a:rPr>
              <a:t> “ </a:t>
            </a:r>
          </a:p>
          <a:p>
            <a:pPr>
              <a:lnSpc>
                <a:spcPct val="150000"/>
              </a:lnSpc>
            </a:pPr>
            <a:endParaRPr lang="en-US" sz="2000" i="1" dirty="0">
              <a:solidFill>
                <a:schemeClr val="bg1"/>
              </a:solidFill>
            </a:endParaRPr>
          </a:p>
        </p:txBody>
      </p:sp>
    </p:spTree>
    <p:extLst>
      <p:ext uri="{BB962C8B-B14F-4D97-AF65-F5344CB8AC3E}">
        <p14:creationId xmlns:p14="http://schemas.microsoft.com/office/powerpoint/2010/main" val="163583772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Follow the SAFe Implementation Roadmap</a:t>
            </a:r>
          </a:p>
        </p:txBody>
      </p:sp>
      <p:pic>
        <p:nvPicPr>
          <p:cNvPr id="7" name="Picture 6"/>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616782" y="653796"/>
            <a:ext cx="6009497" cy="4302424"/>
          </a:xfrm>
          <a:prstGeom prst="rect">
            <a:avLst/>
          </a:prstGeom>
        </p:spPr>
      </p:pic>
    </p:spTree>
    <p:extLst>
      <p:ext uri="{BB962C8B-B14F-4D97-AF65-F5344CB8AC3E}">
        <p14:creationId xmlns:p14="http://schemas.microsoft.com/office/powerpoint/2010/main" val="223920300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et results</a:t>
            </a:r>
          </a:p>
        </p:txBody>
      </p:sp>
    </p:spTree>
    <p:extLst>
      <p:ext uri="{BB962C8B-B14F-4D97-AF65-F5344CB8AC3E}">
        <p14:creationId xmlns:p14="http://schemas.microsoft.com/office/powerpoint/2010/main" val="40976550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usiness results</a:t>
            </a:r>
          </a:p>
        </p:txBody>
      </p:sp>
      <p:grpSp>
        <p:nvGrpSpPr>
          <p:cNvPr id="30" name="Group 29"/>
          <p:cNvGrpSpPr/>
          <p:nvPr/>
        </p:nvGrpSpPr>
        <p:grpSpPr>
          <a:xfrm>
            <a:off x="3015007" y="1055940"/>
            <a:ext cx="3198140" cy="3198140"/>
            <a:chOff x="2354580" y="1458147"/>
            <a:chExt cx="4434840" cy="4434840"/>
          </a:xfrm>
        </p:grpSpPr>
        <p:sp>
          <p:nvSpPr>
            <p:cNvPr id="45" name="Oval 44"/>
            <p:cNvSpPr/>
            <p:nvPr>
              <p:custDataLst>
                <p:tags r:id="rId1"/>
              </p:custDataLst>
            </p:nvPr>
          </p:nvSpPr>
          <p:spPr>
            <a:xfrm>
              <a:off x="2354580" y="1458147"/>
              <a:ext cx="4434840" cy="4434840"/>
            </a:xfrm>
            <a:prstGeom prst="ellipse">
              <a:avLst/>
            </a:prstGeom>
            <a:solidFill>
              <a:srgbClr val="FFFFFF">
                <a:lumMod val="85000"/>
              </a:srgbClr>
            </a:solidFill>
            <a:ln w="25400" cap="flat" cmpd="sng" algn="ctr">
              <a:noFill/>
              <a:prstDash val="solid"/>
            </a:ln>
            <a:effectLst/>
          </p:spPr>
          <p:txBody>
            <a:bodyPr rtlCol="0" anchor="ctr"/>
            <a:lstStyle/>
            <a:p>
              <a:pPr algn="ctr" defTabSz="685800">
                <a:defRPr/>
              </a:pPr>
              <a:endParaRPr lang="en-US" sz="1350" kern="0" dirty="0">
                <a:solidFill>
                  <a:srgbClr val="FFFFFF"/>
                </a:solidFill>
                <a:latin typeface="Open Sans"/>
                <a:cs typeface="Open Sans"/>
              </a:endParaRPr>
            </a:p>
          </p:txBody>
        </p:sp>
        <p:sp>
          <p:nvSpPr>
            <p:cNvPr id="51" name="Rectangle 6"/>
            <p:cNvSpPr/>
            <p:nvPr>
              <p:custDataLst>
                <p:tags r:id="rId2"/>
              </p:custDataLst>
            </p:nvPr>
          </p:nvSpPr>
          <p:spPr>
            <a:xfrm>
              <a:off x="4572000" y="1574760"/>
              <a:ext cx="2120168" cy="2100807"/>
            </a:xfrm>
            <a:custGeom>
              <a:avLst/>
              <a:gdLst/>
              <a:ahLst/>
              <a:cxnLst/>
              <a:rect l="l" t="t" r="r" b="b"/>
              <a:pathLst>
                <a:path w="2120168" h="2100807">
                  <a:moveTo>
                    <a:pt x="0" y="0"/>
                  </a:moveTo>
                  <a:cubicBezTo>
                    <a:pt x="1162180" y="5734"/>
                    <a:pt x="2104392" y="941212"/>
                    <a:pt x="2120168" y="2100807"/>
                  </a:cubicBezTo>
                  <a:lnTo>
                    <a:pt x="0" y="2100807"/>
                  </a:lnTo>
                  <a:close/>
                </a:path>
              </a:pathLst>
            </a:custGeom>
            <a:solidFill>
              <a:schemeClr val="accent5"/>
            </a:solidFill>
            <a:ln w="38100" cap="flat" cmpd="sng" algn="ctr">
              <a:solidFill>
                <a:srgbClr val="FFFFFF"/>
              </a:solidFill>
              <a:prstDash val="solid"/>
              <a:round/>
              <a:headEnd type="none" w="med" len="med"/>
              <a:tailEnd type="none" w="med" len="med"/>
            </a:ln>
            <a:effectLst/>
          </p:spPr>
          <p:txBody>
            <a:bodyPr vert="horz" wrap="square" lIns="68580" tIns="34290" rIns="68580" bIns="68580" numCol="1" rtlCol="0" anchor="ctr" anchorCtr="0" compatLnSpc="1">
              <a:prstTxWarp prst="textNoShape">
                <a:avLst/>
              </a:prstTxWarp>
              <a:noAutofit/>
            </a:bodyPr>
            <a:lstStyle/>
            <a:p>
              <a:pPr algn="ctr" defTabSz="685800">
                <a:spcBef>
                  <a:spcPct val="20000"/>
                </a:spcBef>
                <a:buClr>
                  <a:srgbClr val="FFFFFF"/>
                </a:buClr>
                <a:buSzPct val="100000"/>
                <a:defRPr/>
              </a:pPr>
              <a:endParaRPr lang="en-US" sz="1050" b="1" kern="0" dirty="0">
                <a:ln>
                  <a:solidFill>
                    <a:srgbClr val="FFFFFF">
                      <a:alpha val="0"/>
                    </a:srgbClr>
                  </a:solidFill>
                </a:ln>
                <a:solidFill>
                  <a:srgbClr val="FFFFFF"/>
                </a:solidFill>
                <a:effectLst>
                  <a:outerShdw blurRad="38100" dist="38100" dir="2700000" algn="tl">
                    <a:srgbClr val="000000">
                      <a:alpha val="43137"/>
                    </a:srgbClr>
                  </a:outerShdw>
                </a:effectLst>
                <a:latin typeface="Open Sans"/>
                <a:cs typeface="Open Sans"/>
              </a:endParaRPr>
            </a:p>
          </p:txBody>
        </p:sp>
        <p:sp>
          <p:nvSpPr>
            <p:cNvPr id="54" name="Rectangle 6"/>
            <p:cNvSpPr/>
            <p:nvPr>
              <p:custDataLst>
                <p:tags r:id="rId3"/>
              </p:custDataLst>
            </p:nvPr>
          </p:nvSpPr>
          <p:spPr>
            <a:xfrm flipH="1">
              <a:off x="2451832" y="1574760"/>
              <a:ext cx="2120168" cy="2100807"/>
            </a:xfrm>
            <a:custGeom>
              <a:avLst/>
              <a:gdLst/>
              <a:ahLst/>
              <a:cxnLst/>
              <a:rect l="l" t="t" r="r" b="b"/>
              <a:pathLst>
                <a:path w="2120168" h="2100807">
                  <a:moveTo>
                    <a:pt x="0" y="0"/>
                  </a:moveTo>
                  <a:cubicBezTo>
                    <a:pt x="1162180" y="5734"/>
                    <a:pt x="2104392" y="941212"/>
                    <a:pt x="2120168" y="2100807"/>
                  </a:cubicBezTo>
                  <a:lnTo>
                    <a:pt x="0" y="2100807"/>
                  </a:lnTo>
                  <a:close/>
                </a:path>
              </a:pathLst>
            </a:custGeom>
            <a:solidFill>
              <a:schemeClr val="accent2"/>
            </a:solidFill>
            <a:ln w="38100" cap="flat" cmpd="sng" algn="ctr">
              <a:solidFill>
                <a:srgbClr val="FFFFFF"/>
              </a:solidFill>
              <a:prstDash val="solid"/>
              <a:round/>
              <a:headEnd type="none" w="med" len="med"/>
              <a:tailEnd type="none" w="med" len="med"/>
            </a:ln>
            <a:effectLst/>
          </p:spPr>
          <p:txBody>
            <a:bodyPr vert="horz" wrap="square" lIns="68580" tIns="34290" rIns="68580" bIns="68580" numCol="1" rtlCol="0" anchor="b" anchorCtr="0" compatLnSpc="1">
              <a:prstTxWarp prst="textNoShape">
                <a:avLst/>
              </a:prstTxWarp>
              <a:noAutofit/>
            </a:bodyPr>
            <a:lstStyle/>
            <a:p>
              <a:pPr algn="ctr" defTabSz="685800">
                <a:spcBef>
                  <a:spcPct val="20000"/>
                </a:spcBef>
                <a:buClr>
                  <a:srgbClr val="FFFFFF"/>
                </a:buClr>
                <a:buSzPct val="100000"/>
                <a:defRPr/>
              </a:pPr>
              <a:endParaRPr lang="en-US" sz="1050" b="1" kern="0" dirty="0">
                <a:ln>
                  <a:solidFill>
                    <a:srgbClr val="FFFFFF">
                      <a:alpha val="0"/>
                    </a:srgbClr>
                  </a:solidFill>
                </a:ln>
                <a:solidFill>
                  <a:srgbClr val="FFFFFF"/>
                </a:solidFill>
                <a:effectLst>
                  <a:outerShdw blurRad="38100" dist="38100" dir="2700000" algn="tl">
                    <a:srgbClr val="000000">
                      <a:alpha val="43137"/>
                    </a:srgbClr>
                  </a:outerShdw>
                </a:effectLst>
                <a:latin typeface="Open Sans"/>
                <a:cs typeface="Open Sans"/>
              </a:endParaRPr>
            </a:p>
          </p:txBody>
        </p:sp>
        <p:sp>
          <p:nvSpPr>
            <p:cNvPr id="57" name="Rectangle 6"/>
            <p:cNvSpPr/>
            <p:nvPr>
              <p:custDataLst>
                <p:tags r:id="rId4"/>
              </p:custDataLst>
            </p:nvPr>
          </p:nvSpPr>
          <p:spPr>
            <a:xfrm flipV="1">
              <a:off x="4572000" y="3675567"/>
              <a:ext cx="2120168" cy="2100807"/>
            </a:xfrm>
            <a:custGeom>
              <a:avLst/>
              <a:gdLst/>
              <a:ahLst/>
              <a:cxnLst/>
              <a:rect l="l" t="t" r="r" b="b"/>
              <a:pathLst>
                <a:path w="2120168" h="2100807">
                  <a:moveTo>
                    <a:pt x="0" y="0"/>
                  </a:moveTo>
                  <a:cubicBezTo>
                    <a:pt x="1162180" y="5734"/>
                    <a:pt x="2104392" y="941212"/>
                    <a:pt x="2120168" y="2100807"/>
                  </a:cubicBezTo>
                  <a:lnTo>
                    <a:pt x="0" y="2100807"/>
                  </a:lnTo>
                  <a:close/>
                </a:path>
              </a:pathLst>
            </a:custGeom>
            <a:solidFill>
              <a:srgbClr val="00B0F0"/>
            </a:solidFill>
            <a:ln w="38100" cap="flat" cmpd="sng" algn="ctr">
              <a:solidFill>
                <a:srgbClr val="FFFFFF"/>
              </a:solidFill>
              <a:prstDash val="solid"/>
            </a:ln>
            <a:effectLst/>
          </p:spPr>
          <p:txBody>
            <a:bodyPr spcFirstLastPara="0" vert="horz" wrap="square" lIns="58103" tIns="58103" rIns="58103" bIns="58103" numCol="1" spcCol="1270" anchor="ctr" anchorCtr="0">
              <a:noAutofit/>
            </a:bodyPr>
            <a:lstStyle/>
            <a:p>
              <a:pPr algn="ctr" defTabSz="685800">
                <a:spcBef>
                  <a:spcPct val="20000"/>
                </a:spcBef>
                <a:buClr>
                  <a:srgbClr val="FFFFFF"/>
                </a:buClr>
                <a:buSzPct val="100000"/>
                <a:defRPr/>
              </a:pPr>
              <a:endParaRPr lang="en-US" sz="1050" b="1" kern="0" dirty="0">
                <a:ln>
                  <a:solidFill>
                    <a:srgbClr val="FFFFFF">
                      <a:alpha val="0"/>
                    </a:srgbClr>
                  </a:solidFill>
                </a:ln>
                <a:solidFill>
                  <a:srgbClr val="FFFFFF"/>
                </a:solidFill>
                <a:effectLst>
                  <a:outerShdw blurRad="38100" dist="38100" dir="2700000" algn="tl">
                    <a:srgbClr val="000000">
                      <a:alpha val="43137"/>
                    </a:srgbClr>
                  </a:outerShdw>
                </a:effectLst>
                <a:latin typeface="Open Sans"/>
                <a:cs typeface="Open Sans"/>
              </a:endParaRPr>
            </a:p>
          </p:txBody>
        </p:sp>
        <p:sp>
          <p:nvSpPr>
            <p:cNvPr id="58" name="Rectangle 6"/>
            <p:cNvSpPr/>
            <p:nvPr>
              <p:custDataLst>
                <p:tags r:id="rId5"/>
              </p:custDataLst>
            </p:nvPr>
          </p:nvSpPr>
          <p:spPr>
            <a:xfrm flipH="1" flipV="1">
              <a:off x="2451832" y="3675567"/>
              <a:ext cx="2120168" cy="2100807"/>
            </a:xfrm>
            <a:custGeom>
              <a:avLst/>
              <a:gdLst/>
              <a:ahLst/>
              <a:cxnLst/>
              <a:rect l="l" t="t" r="r" b="b"/>
              <a:pathLst>
                <a:path w="2120168" h="2100807">
                  <a:moveTo>
                    <a:pt x="0" y="0"/>
                  </a:moveTo>
                  <a:cubicBezTo>
                    <a:pt x="1162180" y="5734"/>
                    <a:pt x="2104392" y="941212"/>
                    <a:pt x="2120168" y="2100807"/>
                  </a:cubicBezTo>
                  <a:lnTo>
                    <a:pt x="0" y="2100807"/>
                  </a:lnTo>
                  <a:close/>
                </a:path>
              </a:pathLst>
            </a:custGeom>
            <a:solidFill>
              <a:srgbClr val="2F5FAC"/>
            </a:solidFill>
            <a:ln w="38100" cap="flat" cmpd="sng" algn="ctr">
              <a:solidFill>
                <a:srgbClr val="FFFFFF"/>
              </a:solidFill>
              <a:prstDash val="solid"/>
            </a:ln>
            <a:effectLst/>
          </p:spPr>
          <p:txBody>
            <a:bodyPr spcFirstLastPara="0" vert="horz" wrap="square" lIns="58103" tIns="58103" rIns="58103" bIns="58103" numCol="1" spcCol="1270" anchor="ctr" anchorCtr="0">
              <a:noAutofit/>
            </a:bodyPr>
            <a:lstStyle/>
            <a:p>
              <a:pPr algn="ctr" defTabSz="685800">
                <a:spcBef>
                  <a:spcPct val="20000"/>
                </a:spcBef>
                <a:buClr>
                  <a:srgbClr val="FFFFFF"/>
                </a:buClr>
                <a:buSzPct val="100000"/>
                <a:defRPr/>
              </a:pPr>
              <a:endParaRPr lang="en-US" sz="1050" b="1" kern="0" dirty="0">
                <a:ln>
                  <a:solidFill>
                    <a:srgbClr val="FFFFFF">
                      <a:alpha val="0"/>
                    </a:srgbClr>
                  </a:solidFill>
                </a:ln>
                <a:solidFill>
                  <a:srgbClr val="FFFFFF"/>
                </a:solidFill>
                <a:effectLst>
                  <a:outerShdw blurRad="38100" dist="38100" dir="2700000" algn="tl">
                    <a:srgbClr val="000000">
                      <a:alpha val="43137"/>
                    </a:srgbClr>
                  </a:outerShdw>
                </a:effectLst>
                <a:latin typeface="Open Sans"/>
                <a:cs typeface="Open Sans"/>
              </a:endParaRPr>
            </a:p>
          </p:txBody>
        </p:sp>
        <p:sp>
          <p:nvSpPr>
            <p:cNvPr id="59" name="Oval 58"/>
            <p:cNvSpPr/>
            <p:nvPr>
              <p:custDataLst>
                <p:tags r:id="rId6"/>
              </p:custDataLst>
            </p:nvPr>
          </p:nvSpPr>
          <p:spPr>
            <a:xfrm>
              <a:off x="3276600" y="2380167"/>
              <a:ext cx="2590800" cy="2590800"/>
            </a:xfrm>
            <a:prstGeom prst="ellipse">
              <a:avLst/>
            </a:prstGeom>
            <a:solidFill>
              <a:srgbClr val="FFFFFF">
                <a:lumMod val="85000"/>
                <a:alpha val="67000"/>
              </a:srgbClr>
            </a:solidFill>
            <a:ln w="25400" cap="flat" cmpd="sng" algn="ctr">
              <a:noFill/>
              <a:prstDash val="solid"/>
            </a:ln>
            <a:effectLst/>
          </p:spPr>
          <p:txBody>
            <a:bodyPr rtlCol="0" anchor="ctr"/>
            <a:lstStyle/>
            <a:p>
              <a:pPr algn="ctr" defTabSz="685800">
                <a:spcBef>
                  <a:spcPct val="20000"/>
                </a:spcBef>
                <a:buClr>
                  <a:srgbClr val="FFFFFF"/>
                </a:buClr>
                <a:buSzPct val="100000"/>
                <a:defRPr/>
              </a:pPr>
              <a:endParaRPr lang="en-US" b="1" kern="0" dirty="0">
                <a:ln>
                  <a:solidFill>
                    <a:srgbClr val="FFFFFF">
                      <a:alpha val="0"/>
                    </a:srgbClr>
                  </a:solidFill>
                </a:ln>
                <a:solidFill>
                  <a:srgbClr val="000000"/>
                </a:solidFill>
                <a:latin typeface="Open Sans"/>
                <a:cs typeface="Open Sans"/>
              </a:endParaRPr>
            </a:p>
          </p:txBody>
        </p:sp>
        <p:sp>
          <p:nvSpPr>
            <p:cNvPr id="60" name="Rectangle 59"/>
            <p:cNvSpPr/>
            <p:nvPr>
              <p:custDataLst>
                <p:tags r:id="rId7"/>
              </p:custDataLst>
            </p:nvPr>
          </p:nvSpPr>
          <p:spPr>
            <a:xfrm rot="2619392">
              <a:off x="3518198" y="2141462"/>
              <a:ext cx="2889204" cy="2296630"/>
            </a:xfrm>
            <a:prstGeom prst="rect">
              <a:avLst/>
            </a:prstGeom>
            <a:solidFill>
              <a:schemeClr val="accent6">
                <a:alpha val="0"/>
              </a:schemeClr>
            </a:solidFill>
            <a:effectLst/>
          </p:spPr>
          <p:txBody>
            <a:bodyPr wrap="none">
              <a:prstTxWarp prst="textArchUp">
                <a:avLst>
                  <a:gd name="adj" fmla="val 13576967"/>
                </a:avLst>
              </a:prstTxWarp>
              <a:spAutoFit/>
            </a:bodyPr>
            <a:lstStyle/>
            <a:p>
              <a:pPr algn="ctr" defTabSz="685800">
                <a:spcBef>
                  <a:spcPct val="20000"/>
                </a:spcBef>
                <a:buClr>
                  <a:srgbClr val="FFFFFF"/>
                </a:buClr>
                <a:buSzPct val="100000"/>
                <a:defRPr/>
              </a:pPr>
              <a:r>
                <a:rPr lang="en-US" sz="1500" b="1" kern="0" dirty="0">
                  <a:ln>
                    <a:solidFill>
                      <a:srgbClr val="FFFFFF">
                        <a:alpha val="0"/>
                      </a:srgbClr>
                    </a:solidFill>
                  </a:ln>
                  <a:solidFill>
                    <a:srgbClr val="FFFFFF"/>
                  </a:solidFill>
                  <a:latin typeface="Open Sans"/>
                  <a:cs typeface="Open Sans"/>
                </a:rPr>
                <a:t>TIME-TO-MARKET</a:t>
              </a:r>
            </a:p>
          </p:txBody>
        </p:sp>
        <p:sp>
          <p:nvSpPr>
            <p:cNvPr id="61" name="Rectangle 60"/>
            <p:cNvSpPr/>
            <p:nvPr>
              <p:custDataLst>
                <p:tags r:id="rId8"/>
              </p:custDataLst>
            </p:nvPr>
          </p:nvSpPr>
          <p:spPr>
            <a:xfrm rot="18819392">
              <a:off x="2743020" y="2079921"/>
              <a:ext cx="3093340" cy="2582692"/>
            </a:xfrm>
            <a:prstGeom prst="rect">
              <a:avLst/>
            </a:prstGeom>
            <a:solidFill>
              <a:schemeClr val="accent4">
                <a:alpha val="0"/>
              </a:schemeClr>
            </a:solidFill>
            <a:effectLst/>
          </p:spPr>
          <p:txBody>
            <a:bodyPr wrap="none">
              <a:prstTxWarp prst="textArchUp">
                <a:avLst>
                  <a:gd name="adj" fmla="val 13576967"/>
                </a:avLst>
              </a:prstTxWarp>
              <a:spAutoFit/>
            </a:bodyPr>
            <a:lstStyle/>
            <a:p>
              <a:pPr algn="ctr" defTabSz="685800">
                <a:spcBef>
                  <a:spcPct val="20000"/>
                </a:spcBef>
                <a:buClr>
                  <a:srgbClr val="FFFFFF"/>
                </a:buClr>
                <a:buSzPct val="100000"/>
                <a:defRPr/>
              </a:pPr>
              <a:r>
                <a:rPr lang="en-US" sz="1500" b="1" kern="0" dirty="0">
                  <a:ln>
                    <a:solidFill>
                      <a:srgbClr val="FFFFFF">
                        <a:alpha val="0"/>
                      </a:srgbClr>
                    </a:solidFill>
                  </a:ln>
                  <a:solidFill>
                    <a:srgbClr val="FFFFFF"/>
                  </a:solidFill>
                  <a:latin typeface="Open Sans"/>
                  <a:cs typeface="Open Sans"/>
                </a:rPr>
                <a:t>ENGAGEMENT</a:t>
              </a:r>
            </a:p>
          </p:txBody>
        </p:sp>
        <p:sp>
          <p:nvSpPr>
            <p:cNvPr id="62" name="Rectangle 61"/>
            <p:cNvSpPr/>
            <p:nvPr>
              <p:custDataLst>
                <p:tags r:id="rId9"/>
              </p:custDataLst>
            </p:nvPr>
          </p:nvSpPr>
          <p:spPr>
            <a:xfrm rot="18819392">
              <a:off x="4248469" y="3547865"/>
              <a:ext cx="2123402" cy="1572466"/>
            </a:xfrm>
            <a:prstGeom prst="rect">
              <a:avLst/>
            </a:prstGeom>
            <a:solidFill>
              <a:schemeClr val="accent1">
                <a:alpha val="0"/>
              </a:schemeClr>
            </a:solidFill>
            <a:effectLst/>
          </p:spPr>
          <p:txBody>
            <a:bodyPr wrap="none" anchor="t">
              <a:prstTxWarp prst="textArchDown">
                <a:avLst>
                  <a:gd name="adj" fmla="val 2823306"/>
                </a:avLst>
              </a:prstTxWarp>
              <a:spAutoFit/>
            </a:bodyPr>
            <a:lstStyle/>
            <a:p>
              <a:pPr algn="ctr" defTabSz="685800">
                <a:spcBef>
                  <a:spcPct val="20000"/>
                </a:spcBef>
                <a:buClr>
                  <a:srgbClr val="FFFFFF"/>
                </a:buClr>
                <a:buSzPct val="100000"/>
                <a:defRPr/>
              </a:pPr>
              <a:r>
                <a:rPr lang="en-US" sz="1500" b="1" kern="0" dirty="0">
                  <a:ln>
                    <a:solidFill>
                      <a:srgbClr val="FFFFFF">
                        <a:alpha val="0"/>
                      </a:srgbClr>
                    </a:solidFill>
                  </a:ln>
                  <a:solidFill>
                    <a:srgbClr val="FFFFFF"/>
                  </a:solidFill>
                  <a:latin typeface="Open Sans"/>
                  <a:cs typeface="Open Sans"/>
                </a:rPr>
                <a:t>QUALITY</a:t>
              </a:r>
            </a:p>
          </p:txBody>
        </p:sp>
        <p:sp>
          <p:nvSpPr>
            <p:cNvPr id="63" name="Rectangle 62"/>
            <p:cNvSpPr/>
            <p:nvPr>
              <p:custDataLst>
                <p:tags r:id="rId10"/>
              </p:custDataLst>
            </p:nvPr>
          </p:nvSpPr>
          <p:spPr>
            <a:xfrm rot="2619392">
              <a:off x="2675620" y="2827523"/>
              <a:ext cx="3020218" cy="2455755"/>
            </a:xfrm>
            <a:prstGeom prst="rect">
              <a:avLst/>
            </a:prstGeom>
            <a:solidFill>
              <a:srgbClr val="2F5FAC">
                <a:alpha val="0"/>
              </a:srgbClr>
            </a:solidFill>
            <a:effectLst/>
          </p:spPr>
          <p:txBody>
            <a:bodyPr wrap="none" anchor="t">
              <a:prstTxWarp prst="textArchDown">
                <a:avLst>
                  <a:gd name="adj" fmla="val 2823306"/>
                </a:avLst>
              </a:prstTxWarp>
              <a:spAutoFit/>
            </a:bodyPr>
            <a:lstStyle/>
            <a:p>
              <a:pPr algn="ctr" defTabSz="685800">
                <a:spcBef>
                  <a:spcPct val="20000"/>
                </a:spcBef>
                <a:buClr>
                  <a:srgbClr val="FFFFFF"/>
                </a:buClr>
                <a:buSzPct val="100000"/>
                <a:defRPr/>
              </a:pPr>
              <a:r>
                <a:rPr lang="en-US" sz="1500" b="1" kern="0" dirty="0">
                  <a:ln>
                    <a:solidFill>
                      <a:srgbClr val="FFFFFF">
                        <a:alpha val="0"/>
                      </a:srgbClr>
                    </a:solidFill>
                  </a:ln>
                  <a:solidFill>
                    <a:srgbClr val="FFFFFF"/>
                  </a:solidFill>
                  <a:latin typeface="Open Sans"/>
                  <a:cs typeface="Open Sans"/>
                </a:rPr>
                <a:t>PRODUCTIVITY</a:t>
              </a:r>
            </a:p>
          </p:txBody>
        </p:sp>
        <p:sp>
          <p:nvSpPr>
            <p:cNvPr id="65" name="Rectangle 64"/>
            <p:cNvSpPr/>
            <p:nvPr/>
          </p:nvSpPr>
          <p:spPr>
            <a:xfrm>
              <a:off x="3592422" y="3297585"/>
              <a:ext cx="1959158" cy="896263"/>
            </a:xfrm>
            <a:prstGeom prst="rect">
              <a:avLst/>
            </a:prstGeom>
          </p:spPr>
          <p:txBody>
            <a:bodyPr wrap="square">
              <a:spAutoFit/>
            </a:bodyPr>
            <a:lstStyle/>
            <a:p>
              <a:pPr algn="ctr" defTabSz="685800">
                <a:spcBef>
                  <a:spcPct val="20000"/>
                </a:spcBef>
                <a:buClr>
                  <a:srgbClr val="FFFFFF"/>
                </a:buClr>
                <a:buSzPct val="100000"/>
                <a:defRPr/>
              </a:pPr>
              <a:r>
                <a:rPr lang="en-US" b="1" kern="0" dirty="0">
                  <a:ln>
                    <a:solidFill>
                      <a:srgbClr val="FFFFFF">
                        <a:alpha val="0"/>
                      </a:srgbClr>
                    </a:solidFill>
                  </a:ln>
                  <a:solidFill>
                    <a:srgbClr val="000000"/>
                  </a:solidFill>
                  <a:effectLst>
                    <a:glow rad="342900">
                      <a:srgbClr val="FFFFFF">
                        <a:alpha val="52000"/>
                      </a:srgbClr>
                    </a:glow>
                    <a:outerShdw blurRad="50800" dist="139700" dir="2700000" algn="tl" rotWithShape="0">
                      <a:srgbClr val="FFFFFF">
                        <a:alpha val="86000"/>
                      </a:srgbClr>
                    </a:outerShdw>
                  </a:effectLst>
                  <a:latin typeface="Open Sans"/>
                  <a:cs typeface="Open Sans"/>
                </a:rPr>
                <a:t>BUSINESS RESULTS</a:t>
              </a:r>
            </a:p>
          </p:txBody>
        </p:sp>
        <p:sp>
          <p:nvSpPr>
            <p:cNvPr id="66" name="Curved Down Arrow 32"/>
            <p:cNvSpPr/>
            <p:nvPr>
              <p:custDataLst>
                <p:tags r:id="rId11"/>
              </p:custDataLst>
            </p:nvPr>
          </p:nvSpPr>
          <p:spPr>
            <a:xfrm rot="13874276" flipH="1">
              <a:off x="3643332" y="4147871"/>
              <a:ext cx="332993" cy="628284"/>
            </a:xfrm>
            <a:custGeom>
              <a:avLst/>
              <a:gdLst>
                <a:gd name="connsiteX0" fmla="*/ 0 w 389067"/>
                <a:gd name="connsiteY0" fmla="*/ 14695 h 736470"/>
                <a:gd name="connsiteX1" fmla="*/ 199235 w 389067"/>
                <a:gd name="connsiteY1" fmla="*/ 0 h 736470"/>
                <a:gd name="connsiteX2" fmla="*/ 305209 w 389067"/>
                <a:gd name="connsiteY2" fmla="*/ 580640 h 736470"/>
                <a:gd name="connsiteX3" fmla="*/ 389067 w 389067"/>
                <a:gd name="connsiteY3" fmla="*/ 576035 h 736470"/>
                <a:gd name="connsiteX4" fmla="*/ 214483 w 389067"/>
                <a:gd name="connsiteY4" fmla="*/ 736470 h 736470"/>
                <a:gd name="connsiteX5" fmla="*/ 31683 w 389067"/>
                <a:gd name="connsiteY5" fmla="*/ 593917 h 736470"/>
                <a:gd name="connsiteX6" fmla="*/ 120148 w 389067"/>
                <a:gd name="connsiteY6" fmla="*/ 580640 h 736470"/>
                <a:gd name="connsiteX7" fmla="*/ 0 w 389067"/>
                <a:gd name="connsiteY7" fmla="*/ 14695 h 736470"/>
                <a:gd name="connsiteX0" fmla="*/ 0 w 389067"/>
                <a:gd name="connsiteY0" fmla="*/ 19958 h 741733"/>
                <a:gd name="connsiteX1" fmla="*/ 207380 w 389067"/>
                <a:gd name="connsiteY1" fmla="*/ 0 h 741733"/>
                <a:gd name="connsiteX2" fmla="*/ 305209 w 389067"/>
                <a:gd name="connsiteY2" fmla="*/ 585903 h 741733"/>
                <a:gd name="connsiteX3" fmla="*/ 389067 w 389067"/>
                <a:gd name="connsiteY3" fmla="*/ 581298 h 741733"/>
                <a:gd name="connsiteX4" fmla="*/ 214483 w 389067"/>
                <a:gd name="connsiteY4" fmla="*/ 741733 h 741733"/>
                <a:gd name="connsiteX5" fmla="*/ 31683 w 389067"/>
                <a:gd name="connsiteY5" fmla="*/ 599180 h 741733"/>
                <a:gd name="connsiteX6" fmla="*/ 120148 w 389067"/>
                <a:gd name="connsiteY6" fmla="*/ 585903 h 741733"/>
                <a:gd name="connsiteX7" fmla="*/ 0 w 389067"/>
                <a:gd name="connsiteY7" fmla="*/ 19958 h 741733"/>
                <a:gd name="connsiteX0" fmla="*/ 0 w 368890"/>
                <a:gd name="connsiteY0" fmla="*/ 18947 h 741733"/>
                <a:gd name="connsiteX1" fmla="*/ 187203 w 368890"/>
                <a:gd name="connsiteY1" fmla="*/ 0 h 741733"/>
                <a:gd name="connsiteX2" fmla="*/ 285032 w 368890"/>
                <a:gd name="connsiteY2" fmla="*/ 585903 h 741733"/>
                <a:gd name="connsiteX3" fmla="*/ 368890 w 368890"/>
                <a:gd name="connsiteY3" fmla="*/ 581298 h 741733"/>
                <a:gd name="connsiteX4" fmla="*/ 194306 w 368890"/>
                <a:gd name="connsiteY4" fmla="*/ 741733 h 741733"/>
                <a:gd name="connsiteX5" fmla="*/ 11506 w 368890"/>
                <a:gd name="connsiteY5" fmla="*/ 599180 h 741733"/>
                <a:gd name="connsiteX6" fmla="*/ 99971 w 368890"/>
                <a:gd name="connsiteY6" fmla="*/ 585903 h 741733"/>
                <a:gd name="connsiteX7" fmla="*/ 0 w 368890"/>
                <a:gd name="connsiteY7" fmla="*/ 18947 h 741733"/>
                <a:gd name="connsiteX0" fmla="*/ 0 w 368890"/>
                <a:gd name="connsiteY0" fmla="*/ 4317 h 727103"/>
                <a:gd name="connsiteX1" fmla="*/ 190264 w 368890"/>
                <a:gd name="connsiteY1" fmla="*/ 0 h 727103"/>
                <a:gd name="connsiteX2" fmla="*/ 285032 w 368890"/>
                <a:gd name="connsiteY2" fmla="*/ 571273 h 727103"/>
                <a:gd name="connsiteX3" fmla="*/ 368890 w 368890"/>
                <a:gd name="connsiteY3" fmla="*/ 566668 h 727103"/>
                <a:gd name="connsiteX4" fmla="*/ 194306 w 368890"/>
                <a:gd name="connsiteY4" fmla="*/ 727103 h 727103"/>
                <a:gd name="connsiteX5" fmla="*/ 11506 w 368890"/>
                <a:gd name="connsiteY5" fmla="*/ 584550 h 727103"/>
                <a:gd name="connsiteX6" fmla="*/ 99971 w 368890"/>
                <a:gd name="connsiteY6" fmla="*/ 571273 h 727103"/>
                <a:gd name="connsiteX7" fmla="*/ 0 w 368890"/>
                <a:gd name="connsiteY7" fmla="*/ 4317 h 727103"/>
                <a:gd name="connsiteX0" fmla="*/ 0 w 368890"/>
                <a:gd name="connsiteY0" fmla="*/ 4317 h 727103"/>
                <a:gd name="connsiteX1" fmla="*/ 190264 w 368890"/>
                <a:gd name="connsiteY1" fmla="*/ 0 h 727103"/>
                <a:gd name="connsiteX2" fmla="*/ 285032 w 368890"/>
                <a:gd name="connsiteY2" fmla="*/ 571273 h 727103"/>
                <a:gd name="connsiteX3" fmla="*/ 368890 w 368890"/>
                <a:gd name="connsiteY3" fmla="*/ 566668 h 727103"/>
                <a:gd name="connsiteX4" fmla="*/ 194306 w 368890"/>
                <a:gd name="connsiteY4" fmla="*/ 727103 h 727103"/>
                <a:gd name="connsiteX5" fmla="*/ 11506 w 368890"/>
                <a:gd name="connsiteY5" fmla="*/ 584550 h 727103"/>
                <a:gd name="connsiteX6" fmla="*/ 99971 w 368890"/>
                <a:gd name="connsiteY6" fmla="*/ 571273 h 727103"/>
                <a:gd name="connsiteX7" fmla="*/ 0 w 368890"/>
                <a:gd name="connsiteY7" fmla="*/ 4317 h 727103"/>
                <a:gd name="connsiteX0" fmla="*/ 0 w 368890"/>
                <a:gd name="connsiteY0" fmla="*/ 4317 h 727103"/>
                <a:gd name="connsiteX1" fmla="*/ 190264 w 368890"/>
                <a:gd name="connsiteY1" fmla="*/ 0 h 727103"/>
                <a:gd name="connsiteX2" fmla="*/ 285032 w 368890"/>
                <a:gd name="connsiteY2" fmla="*/ 571273 h 727103"/>
                <a:gd name="connsiteX3" fmla="*/ 368890 w 368890"/>
                <a:gd name="connsiteY3" fmla="*/ 566668 h 727103"/>
                <a:gd name="connsiteX4" fmla="*/ 194306 w 368890"/>
                <a:gd name="connsiteY4" fmla="*/ 727103 h 727103"/>
                <a:gd name="connsiteX5" fmla="*/ 10684 w 368890"/>
                <a:gd name="connsiteY5" fmla="*/ 567704 h 727103"/>
                <a:gd name="connsiteX6" fmla="*/ 99971 w 368890"/>
                <a:gd name="connsiteY6" fmla="*/ 571273 h 727103"/>
                <a:gd name="connsiteX7" fmla="*/ 0 w 368890"/>
                <a:gd name="connsiteY7" fmla="*/ 4317 h 727103"/>
                <a:gd name="connsiteX0" fmla="*/ 0 w 363912"/>
                <a:gd name="connsiteY0" fmla="*/ 4317 h 727103"/>
                <a:gd name="connsiteX1" fmla="*/ 190264 w 363912"/>
                <a:gd name="connsiteY1" fmla="*/ 0 h 727103"/>
                <a:gd name="connsiteX2" fmla="*/ 285032 w 363912"/>
                <a:gd name="connsiteY2" fmla="*/ 571273 h 727103"/>
                <a:gd name="connsiteX3" fmla="*/ 363912 w 363912"/>
                <a:gd name="connsiteY3" fmla="*/ 585949 h 727103"/>
                <a:gd name="connsiteX4" fmla="*/ 194306 w 363912"/>
                <a:gd name="connsiteY4" fmla="*/ 727103 h 727103"/>
                <a:gd name="connsiteX5" fmla="*/ 10684 w 363912"/>
                <a:gd name="connsiteY5" fmla="*/ 567704 h 727103"/>
                <a:gd name="connsiteX6" fmla="*/ 99971 w 363912"/>
                <a:gd name="connsiteY6" fmla="*/ 571273 h 727103"/>
                <a:gd name="connsiteX7" fmla="*/ 0 w 363912"/>
                <a:gd name="connsiteY7" fmla="*/ 4317 h 727103"/>
                <a:gd name="connsiteX0" fmla="*/ 0 w 358113"/>
                <a:gd name="connsiteY0" fmla="*/ 4317 h 727103"/>
                <a:gd name="connsiteX1" fmla="*/ 190264 w 358113"/>
                <a:gd name="connsiteY1" fmla="*/ 0 h 727103"/>
                <a:gd name="connsiteX2" fmla="*/ 285032 w 358113"/>
                <a:gd name="connsiteY2" fmla="*/ 571273 h 727103"/>
                <a:gd name="connsiteX3" fmla="*/ 358113 w 358113"/>
                <a:gd name="connsiteY3" fmla="*/ 588385 h 727103"/>
                <a:gd name="connsiteX4" fmla="*/ 194306 w 358113"/>
                <a:gd name="connsiteY4" fmla="*/ 727103 h 727103"/>
                <a:gd name="connsiteX5" fmla="*/ 10684 w 358113"/>
                <a:gd name="connsiteY5" fmla="*/ 567704 h 727103"/>
                <a:gd name="connsiteX6" fmla="*/ 99971 w 358113"/>
                <a:gd name="connsiteY6" fmla="*/ 571273 h 727103"/>
                <a:gd name="connsiteX7" fmla="*/ 0 w 358113"/>
                <a:gd name="connsiteY7" fmla="*/ 4317 h 727103"/>
                <a:gd name="connsiteX0" fmla="*/ 0 w 358113"/>
                <a:gd name="connsiteY0" fmla="*/ 4317 h 727103"/>
                <a:gd name="connsiteX1" fmla="*/ 190264 w 358113"/>
                <a:gd name="connsiteY1" fmla="*/ 0 h 727103"/>
                <a:gd name="connsiteX2" fmla="*/ 273845 w 358113"/>
                <a:gd name="connsiteY2" fmla="*/ 584567 h 727103"/>
                <a:gd name="connsiteX3" fmla="*/ 358113 w 358113"/>
                <a:gd name="connsiteY3" fmla="*/ 588385 h 727103"/>
                <a:gd name="connsiteX4" fmla="*/ 194306 w 358113"/>
                <a:gd name="connsiteY4" fmla="*/ 727103 h 727103"/>
                <a:gd name="connsiteX5" fmla="*/ 10684 w 358113"/>
                <a:gd name="connsiteY5" fmla="*/ 567704 h 727103"/>
                <a:gd name="connsiteX6" fmla="*/ 99971 w 358113"/>
                <a:gd name="connsiteY6" fmla="*/ 571273 h 727103"/>
                <a:gd name="connsiteX7" fmla="*/ 0 w 358113"/>
                <a:gd name="connsiteY7" fmla="*/ 4317 h 727103"/>
                <a:gd name="connsiteX0" fmla="*/ 0 w 362869"/>
                <a:gd name="connsiteY0" fmla="*/ 4317 h 727103"/>
                <a:gd name="connsiteX1" fmla="*/ 190264 w 362869"/>
                <a:gd name="connsiteY1" fmla="*/ 0 h 727103"/>
                <a:gd name="connsiteX2" fmla="*/ 273845 w 362869"/>
                <a:gd name="connsiteY2" fmla="*/ 584567 h 727103"/>
                <a:gd name="connsiteX3" fmla="*/ 362869 w 362869"/>
                <a:gd name="connsiteY3" fmla="*/ 605011 h 727103"/>
                <a:gd name="connsiteX4" fmla="*/ 194306 w 362869"/>
                <a:gd name="connsiteY4" fmla="*/ 727103 h 727103"/>
                <a:gd name="connsiteX5" fmla="*/ 10684 w 362869"/>
                <a:gd name="connsiteY5" fmla="*/ 567704 h 727103"/>
                <a:gd name="connsiteX6" fmla="*/ 99971 w 362869"/>
                <a:gd name="connsiteY6" fmla="*/ 571273 h 727103"/>
                <a:gd name="connsiteX7" fmla="*/ 0 w 362869"/>
                <a:gd name="connsiteY7" fmla="*/ 4317 h 727103"/>
                <a:gd name="connsiteX0" fmla="*/ 0 w 362869"/>
                <a:gd name="connsiteY0" fmla="*/ 4317 h 727103"/>
                <a:gd name="connsiteX1" fmla="*/ 190264 w 362869"/>
                <a:gd name="connsiteY1" fmla="*/ 0 h 727103"/>
                <a:gd name="connsiteX2" fmla="*/ 273845 w 362869"/>
                <a:gd name="connsiteY2" fmla="*/ 584567 h 727103"/>
                <a:gd name="connsiteX3" fmla="*/ 362869 w 362869"/>
                <a:gd name="connsiteY3" fmla="*/ 605011 h 727103"/>
                <a:gd name="connsiteX4" fmla="*/ 194306 w 362869"/>
                <a:gd name="connsiteY4" fmla="*/ 727103 h 727103"/>
                <a:gd name="connsiteX5" fmla="*/ 22077 w 362869"/>
                <a:gd name="connsiteY5" fmla="*/ 558622 h 727103"/>
                <a:gd name="connsiteX6" fmla="*/ 99971 w 362869"/>
                <a:gd name="connsiteY6" fmla="*/ 571273 h 727103"/>
                <a:gd name="connsiteX7" fmla="*/ 0 w 362869"/>
                <a:gd name="connsiteY7" fmla="*/ 4317 h 727103"/>
                <a:gd name="connsiteX0" fmla="*/ 0 w 362869"/>
                <a:gd name="connsiteY0" fmla="*/ 4317 h 727103"/>
                <a:gd name="connsiteX1" fmla="*/ 190264 w 362869"/>
                <a:gd name="connsiteY1" fmla="*/ 0 h 727103"/>
                <a:gd name="connsiteX2" fmla="*/ 273845 w 362869"/>
                <a:gd name="connsiteY2" fmla="*/ 584567 h 727103"/>
                <a:gd name="connsiteX3" fmla="*/ 362869 w 362869"/>
                <a:gd name="connsiteY3" fmla="*/ 605011 h 727103"/>
                <a:gd name="connsiteX4" fmla="*/ 194306 w 362869"/>
                <a:gd name="connsiteY4" fmla="*/ 727103 h 727103"/>
                <a:gd name="connsiteX5" fmla="*/ 24763 w 362869"/>
                <a:gd name="connsiteY5" fmla="*/ 573252 h 727103"/>
                <a:gd name="connsiteX6" fmla="*/ 99971 w 362869"/>
                <a:gd name="connsiteY6" fmla="*/ 571273 h 727103"/>
                <a:gd name="connsiteX7" fmla="*/ 0 w 362869"/>
                <a:gd name="connsiteY7" fmla="*/ 4317 h 727103"/>
                <a:gd name="connsiteX0" fmla="*/ 0 w 359346"/>
                <a:gd name="connsiteY0" fmla="*/ 4317 h 727103"/>
                <a:gd name="connsiteX1" fmla="*/ 190264 w 359346"/>
                <a:gd name="connsiteY1" fmla="*/ 0 h 727103"/>
                <a:gd name="connsiteX2" fmla="*/ 273845 w 359346"/>
                <a:gd name="connsiteY2" fmla="*/ 584567 h 727103"/>
                <a:gd name="connsiteX3" fmla="*/ 359346 w 359346"/>
                <a:gd name="connsiteY3" fmla="*/ 613653 h 727103"/>
                <a:gd name="connsiteX4" fmla="*/ 194306 w 359346"/>
                <a:gd name="connsiteY4" fmla="*/ 727103 h 727103"/>
                <a:gd name="connsiteX5" fmla="*/ 24763 w 359346"/>
                <a:gd name="connsiteY5" fmla="*/ 573252 h 727103"/>
                <a:gd name="connsiteX6" fmla="*/ 99971 w 359346"/>
                <a:gd name="connsiteY6" fmla="*/ 571273 h 727103"/>
                <a:gd name="connsiteX7" fmla="*/ 0 w 359346"/>
                <a:gd name="connsiteY7" fmla="*/ 4317 h 727103"/>
                <a:gd name="connsiteX0" fmla="*/ 0 w 359346"/>
                <a:gd name="connsiteY0" fmla="*/ 2982 h 725768"/>
                <a:gd name="connsiteX1" fmla="*/ 204137 w 359346"/>
                <a:gd name="connsiteY1" fmla="*/ 0 h 725768"/>
                <a:gd name="connsiteX2" fmla="*/ 273845 w 359346"/>
                <a:gd name="connsiteY2" fmla="*/ 583232 h 725768"/>
                <a:gd name="connsiteX3" fmla="*/ 359346 w 359346"/>
                <a:gd name="connsiteY3" fmla="*/ 612318 h 725768"/>
                <a:gd name="connsiteX4" fmla="*/ 194306 w 359346"/>
                <a:gd name="connsiteY4" fmla="*/ 725768 h 725768"/>
                <a:gd name="connsiteX5" fmla="*/ 24763 w 359346"/>
                <a:gd name="connsiteY5" fmla="*/ 571917 h 725768"/>
                <a:gd name="connsiteX6" fmla="*/ 99971 w 359346"/>
                <a:gd name="connsiteY6" fmla="*/ 569938 h 725768"/>
                <a:gd name="connsiteX7" fmla="*/ 0 w 359346"/>
                <a:gd name="connsiteY7" fmla="*/ 2982 h 725768"/>
                <a:gd name="connsiteX0" fmla="*/ 0 w 357639"/>
                <a:gd name="connsiteY0" fmla="*/ 2982 h 725768"/>
                <a:gd name="connsiteX1" fmla="*/ 204137 w 357639"/>
                <a:gd name="connsiteY1" fmla="*/ 0 h 725768"/>
                <a:gd name="connsiteX2" fmla="*/ 273845 w 357639"/>
                <a:gd name="connsiteY2" fmla="*/ 583232 h 725768"/>
                <a:gd name="connsiteX3" fmla="*/ 357639 w 357639"/>
                <a:gd name="connsiteY3" fmla="*/ 607662 h 725768"/>
                <a:gd name="connsiteX4" fmla="*/ 194306 w 357639"/>
                <a:gd name="connsiteY4" fmla="*/ 725768 h 725768"/>
                <a:gd name="connsiteX5" fmla="*/ 24763 w 357639"/>
                <a:gd name="connsiteY5" fmla="*/ 571917 h 725768"/>
                <a:gd name="connsiteX6" fmla="*/ 99971 w 357639"/>
                <a:gd name="connsiteY6" fmla="*/ 569938 h 725768"/>
                <a:gd name="connsiteX7" fmla="*/ 0 w 357639"/>
                <a:gd name="connsiteY7" fmla="*/ 2982 h 725768"/>
                <a:gd name="connsiteX0" fmla="*/ 0 w 357639"/>
                <a:gd name="connsiteY0" fmla="*/ 2982 h 725768"/>
                <a:gd name="connsiteX1" fmla="*/ 204137 w 357639"/>
                <a:gd name="connsiteY1" fmla="*/ 0 h 725768"/>
                <a:gd name="connsiteX2" fmla="*/ 266853 w 357639"/>
                <a:gd name="connsiteY2" fmla="*/ 591541 h 725768"/>
                <a:gd name="connsiteX3" fmla="*/ 357639 w 357639"/>
                <a:gd name="connsiteY3" fmla="*/ 607662 h 725768"/>
                <a:gd name="connsiteX4" fmla="*/ 194306 w 357639"/>
                <a:gd name="connsiteY4" fmla="*/ 725768 h 725768"/>
                <a:gd name="connsiteX5" fmla="*/ 24763 w 357639"/>
                <a:gd name="connsiteY5" fmla="*/ 571917 h 725768"/>
                <a:gd name="connsiteX6" fmla="*/ 99971 w 357639"/>
                <a:gd name="connsiteY6" fmla="*/ 569938 h 725768"/>
                <a:gd name="connsiteX7" fmla="*/ 0 w 357639"/>
                <a:gd name="connsiteY7" fmla="*/ 2982 h 725768"/>
                <a:gd name="connsiteX0" fmla="*/ 0 w 353136"/>
                <a:gd name="connsiteY0" fmla="*/ 2982 h 725768"/>
                <a:gd name="connsiteX1" fmla="*/ 204137 w 353136"/>
                <a:gd name="connsiteY1" fmla="*/ 0 h 725768"/>
                <a:gd name="connsiteX2" fmla="*/ 266853 w 353136"/>
                <a:gd name="connsiteY2" fmla="*/ 591541 h 725768"/>
                <a:gd name="connsiteX3" fmla="*/ 353136 w 353136"/>
                <a:gd name="connsiteY3" fmla="*/ 606330 h 725768"/>
                <a:gd name="connsiteX4" fmla="*/ 194306 w 353136"/>
                <a:gd name="connsiteY4" fmla="*/ 725768 h 725768"/>
                <a:gd name="connsiteX5" fmla="*/ 24763 w 353136"/>
                <a:gd name="connsiteY5" fmla="*/ 571917 h 725768"/>
                <a:gd name="connsiteX6" fmla="*/ 99971 w 353136"/>
                <a:gd name="connsiteY6" fmla="*/ 569938 h 725768"/>
                <a:gd name="connsiteX7" fmla="*/ 0 w 353136"/>
                <a:gd name="connsiteY7" fmla="*/ 2982 h 725768"/>
                <a:gd name="connsiteX0" fmla="*/ 0 w 353136"/>
                <a:gd name="connsiteY0" fmla="*/ 2982 h 737458"/>
                <a:gd name="connsiteX1" fmla="*/ 204137 w 353136"/>
                <a:gd name="connsiteY1" fmla="*/ 0 h 737458"/>
                <a:gd name="connsiteX2" fmla="*/ 266853 w 353136"/>
                <a:gd name="connsiteY2" fmla="*/ 591541 h 737458"/>
                <a:gd name="connsiteX3" fmla="*/ 353136 w 353136"/>
                <a:gd name="connsiteY3" fmla="*/ 606330 h 737458"/>
                <a:gd name="connsiteX4" fmla="*/ 166471 w 353136"/>
                <a:gd name="connsiteY4" fmla="*/ 737458 h 737458"/>
                <a:gd name="connsiteX5" fmla="*/ 24763 w 353136"/>
                <a:gd name="connsiteY5" fmla="*/ 571917 h 737458"/>
                <a:gd name="connsiteX6" fmla="*/ 99971 w 353136"/>
                <a:gd name="connsiteY6" fmla="*/ 569938 h 737458"/>
                <a:gd name="connsiteX7" fmla="*/ 0 w 353136"/>
                <a:gd name="connsiteY7" fmla="*/ 2982 h 737458"/>
                <a:gd name="connsiteX0" fmla="*/ 0 w 353136"/>
                <a:gd name="connsiteY0" fmla="*/ 2982 h 735631"/>
                <a:gd name="connsiteX1" fmla="*/ 204137 w 353136"/>
                <a:gd name="connsiteY1" fmla="*/ 0 h 735631"/>
                <a:gd name="connsiteX2" fmla="*/ 266853 w 353136"/>
                <a:gd name="connsiteY2" fmla="*/ 591541 h 735631"/>
                <a:gd name="connsiteX3" fmla="*/ 353136 w 353136"/>
                <a:gd name="connsiteY3" fmla="*/ 606330 h 735631"/>
                <a:gd name="connsiteX4" fmla="*/ 170819 w 353136"/>
                <a:gd name="connsiteY4" fmla="*/ 735631 h 735631"/>
                <a:gd name="connsiteX5" fmla="*/ 24763 w 353136"/>
                <a:gd name="connsiteY5" fmla="*/ 571917 h 735631"/>
                <a:gd name="connsiteX6" fmla="*/ 99971 w 353136"/>
                <a:gd name="connsiteY6" fmla="*/ 569938 h 735631"/>
                <a:gd name="connsiteX7" fmla="*/ 0 w 353136"/>
                <a:gd name="connsiteY7" fmla="*/ 2982 h 735631"/>
                <a:gd name="connsiteX0" fmla="*/ 0 w 353136"/>
                <a:gd name="connsiteY0" fmla="*/ 2982 h 735631"/>
                <a:gd name="connsiteX1" fmla="*/ 204137 w 353136"/>
                <a:gd name="connsiteY1" fmla="*/ 0 h 735631"/>
                <a:gd name="connsiteX2" fmla="*/ 266853 w 353136"/>
                <a:gd name="connsiteY2" fmla="*/ 591541 h 735631"/>
                <a:gd name="connsiteX3" fmla="*/ 353136 w 353136"/>
                <a:gd name="connsiteY3" fmla="*/ 606330 h 735631"/>
                <a:gd name="connsiteX4" fmla="*/ 170819 w 353136"/>
                <a:gd name="connsiteY4" fmla="*/ 735631 h 735631"/>
                <a:gd name="connsiteX5" fmla="*/ 24763 w 353136"/>
                <a:gd name="connsiteY5" fmla="*/ 571917 h 735631"/>
                <a:gd name="connsiteX6" fmla="*/ 94224 w 353136"/>
                <a:gd name="connsiteY6" fmla="*/ 573426 h 735631"/>
                <a:gd name="connsiteX7" fmla="*/ 0 w 353136"/>
                <a:gd name="connsiteY7" fmla="*/ 2982 h 735631"/>
                <a:gd name="connsiteX0" fmla="*/ 0 w 353136"/>
                <a:gd name="connsiteY0" fmla="*/ 2982 h 735631"/>
                <a:gd name="connsiteX1" fmla="*/ 204137 w 353136"/>
                <a:gd name="connsiteY1" fmla="*/ 0 h 735631"/>
                <a:gd name="connsiteX2" fmla="*/ 266853 w 353136"/>
                <a:gd name="connsiteY2" fmla="*/ 591541 h 735631"/>
                <a:gd name="connsiteX3" fmla="*/ 353136 w 353136"/>
                <a:gd name="connsiteY3" fmla="*/ 606330 h 735631"/>
                <a:gd name="connsiteX4" fmla="*/ 170819 w 353136"/>
                <a:gd name="connsiteY4" fmla="*/ 735631 h 735631"/>
                <a:gd name="connsiteX5" fmla="*/ 21811 w 353136"/>
                <a:gd name="connsiteY5" fmla="*/ 572082 h 735631"/>
                <a:gd name="connsiteX6" fmla="*/ 94224 w 353136"/>
                <a:gd name="connsiteY6" fmla="*/ 573426 h 735631"/>
                <a:gd name="connsiteX7" fmla="*/ 0 w 353136"/>
                <a:gd name="connsiteY7" fmla="*/ 2982 h 735631"/>
                <a:gd name="connsiteX0" fmla="*/ 0 w 353136"/>
                <a:gd name="connsiteY0" fmla="*/ 2982 h 735631"/>
                <a:gd name="connsiteX1" fmla="*/ 204137 w 353136"/>
                <a:gd name="connsiteY1" fmla="*/ 0 h 735631"/>
                <a:gd name="connsiteX2" fmla="*/ 266853 w 353136"/>
                <a:gd name="connsiteY2" fmla="*/ 591541 h 735631"/>
                <a:gd name="connsiteX3" fmla="*/ 353136 w 353136"/>
                <a:gd name="connsiteY3" fmla="*/ 606330 h 735631"/>
                <a:gd name="connsiteX4" fmla="*/ 170819 w 353136"/>
                <a:gd name="connsiteY4" fmla="*/ 735631 h 735631"/>
                <a:gd name="connsiteX5" fmla="*/ 21811 w 353136"/>
                <a:gd name="connsiteY5" fmla="*/ 572082 h 735631"/>
                <a:gd name="connsiteX6" fmla="*/ 94224 w 353136"/>
                <a:gd name="connsiteY6" fmla="*/ 573426 h 735631"/>
                <a:gd name="connsiteX7" fmla="*/ 0 w 353136"/>
                <a:gd name="connsiteY7" fmla="*/ 2982 h 735631"/>
                <a:gd name="connsiteX0" fmla="*/ 29959 w 331325"/>
                <a:gd name="connsiteY0" fmla="*/ 0 h 735702"/>
                <a:gd name="connsiteX1" fmla="*/ 182326 w 331325"/>
                <a:gd name="connsiteY1" fmla="*/ 71 h 735702"/>
                <a:gd name="connsiteX2" fmla="*/ 245042 w 331325"/>
                <a:gd name="connsiteY2" fmla="*/ 591612 h 735702"/>
                <a:gd name="connsiteX3" fmla="*/ 331325 w 331325"/>
                <a:gd name="connsiteY3" fmla="*/ 606401 h 735702"/>
                <a:gd name="connsiteX4" fmla="*/ 149008 w 331325"/>
                <a:gd name="connsiteY4" fmla="*/ 735702 h 735702"/>
                <a:gd name="connsiteX5" fmla="*/ 0 w 331325"/>
                <a:gd name="connsiteY5" fmla="*/ 572153 h 735702"/>
                <a:gd name="connsiteX6" fmla="*/ 72413 w 331325"/>
                <a:gd name="connsiteY6" fmla="*/ 573497 h 735702"/>
                <a:gd name="connsiteX7" fmla="*/ 29959 w 331325"/>
                <a:gd name="connsiteY7" fmla="*/ 0 h 735702"/>
                <a:gd name="connsiteX0" fmla="*/ 29959 w 331325"/>
                <a:gd name="connsiteY0" fmla="*/ 0 h 735702"/>
                <a:gd name="connsiteX1" fmla="*/ 182326 w 331325"/>
                <a:gd name="connsiteY1" fmla="*/ 71 h 735702"/>
                <a:gd name="connsiteX2" fmla="*/ 245042 w 331325"/>
                <a:gd name="connsiteY2" fmla="*/ 591612 h 735702"/>
                <a:gd name="connsiteX3" fmla="*/ 331325 w 331325"/>
                <a:gd name="connsiteY3" fmla="*/ 606401 h 735702"/>
                <a:gd name="connsiteX4" fmla="*/ 149008 w 331325"/>
                <a:gd name="connsiteY4" fmla="*/ 735702 h 735702"/>
                <a:gd name="connsiteX5" fmla="*/ 0 w 331325"/>
                <a:gd name="connsiteY5" fmla="*/ 572153 h 735702"/>
                <a:gd name="connsiteX6" fmla="*/ 72413 w 331325"/>
                <a:gd name="connsiteY6" fmla="*/ 573497 h 735702"/>
                <a:gd name="connsiteX7" fmla="*/ 29959 w 331325"/>
                <a:gd name="connsiteY7" fmla="*/ 0 h 735702"/>
                <a:gd name="connsiteX0" fmla="*/ 29959 w 331325"/>
                <a:gd name="connsiteY0" fmla="*/ 0 h 735702"/>
                <a:gd name="connsiteX1" fmla="*/ 209742 w 331325"/>
                <a:gd name="connsiteY1" fmla="*/ 4105 h 735702"/>
                <a:gd name="connsiteX2" fmla="*/ 245042 w 331325"/>
                <a:gd name="connsiteY2" fmla="*/ 591612 h 735702"/>
                <a:gd name="connsiteX3" fmla="*/ 331325 w 331325"/>
                <a:gd name="connsiteY3" fmla="*/ 606401 h 735702"/>
                <a:gd name="connsiteX4" fmla="*/ 149008 w 331325"/>
                <a:gd name="connsiteY4" fmla="*/ 735702 h 735702"/>
                <a:gd name="connsiteX5" fmla="*/ 0 w 331325"/>
                <a:gd name="connsiteY5" fmla="*/ 572153 h 735702"/>
                <a:gd name="connsiteX6" fmla="*/ 72413 w 331325"/>
                <a:gd name="connsiteY6" fmla="*/ 573497 h 735702"/>
                <a:gd name="connsiteX7" fmla="*/ 29959 w 331325"/>
                <a:gd name="connsiteY7" fmla="*/ 0 h 735702"/>
                <a:gd name="connsiteX0" fmla="*/ 29959 w 331325"/>
                <a:gd name="connsiteY0" fmla="*/ 0 h 735702"/>
                <a:gd name="connsiteX1" fmla="*/ 221491 w 331325"/>
                <a:gd name="connsiteY1" fmla="*/ 5832 h 735702"/>
                <a:gd name="connsiteX2" fmla="*/ 245042 w 331325"/>
                <a:gd name="connsiteY2" fmla="*/ 591612 h 735702"/>
                <a:gd name="connsiteX3" fmla="*/ 331325 w 331325"/>
                <a:gd name="connsiteY3" fmla="*/ 606401 h 735702"/>
                <a:gd name="connsiteX4" fmla="*/ 149008 w 331325"/>
                <a:gd name="connsiteY4" fmla="*/ 735702 h 735702"/>
                <a:gd name="connsiteX5" fmla="*/ 0 w 331325"/>
                <a:gd name="connsiteY5" fmla="*/ 572153 h 735702"/>
                <a:gd name="connsiteX6" fmla="*/ 72413 w 331325"/>
                <a:gd name="connsiteY6" fmla="*/ 573497 h 735702"/>
                <a:gd name="connsiteX7" fmla="*/ 29959 w 331325"/>
                <a:gd name="connsiteY7" fmla="*/ 0 h 735702"/>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25713 w 316959"/>
                <a:gd name="connsiteY0" fmla="*/ 0 h 732214"/>
                <a:gd name="connsiteX1" fmla="*/ 207125 w 316959"/>
                <a:gd name="connsiteY1" fmla="*/ 2344 h 732214"/>
                <a:gd name="connsiteX2" fmla="*/ 230676 w 316959"/>
                <a:gd name="connsiteY2" fmla="*/ 588124 h 732214"/>
                <a:gd name="connsiteX3" fmla="*/ 316959 w 316959"/>
                <a:gd name="connsiteY3" fmla="*/ 602913 h 732214"/>
                <a:gd name="connsiteX4" fmla="*/ 134642 w 316959"/>
                <a:gd name="connsiteY4" fmla="*/ 732214 h 732214"/>
                <a:gd name="connsiteX5" fmla="*/ 0 w 316959"/>
                <a:gd name="connsiteY5" fmla="*/ 574780 h 732214"/>
                <a:gd name="connsiteX6" fmla="*/ 58047 w 316959"/>
                <a:gd name="connsiteY6" fmla="*/ 570009 h 732214"/>
                <a:gd name="connsiteX7" fmla="*/ 25713 w 316959"/>
                <a:gd name="connsiteY7" fmla="*/ 0 h 732214"/>
                <a:gd name="connsiteX0" fmla="*/ 25713 w 290868"/>
                <a:gd name="connsiteY0" fmla="*/ 0 h 732214"/>
                <a:gd name="connsiteX1" fmla="*/ 207125 w 290868"/>
                <a:gd name="connsiteY1" fmla="*/ 2344 h 732214"/>
                <a:gd name="connsiteX2" fmla="*/ 230676 w 290868"/>
                <a:gd name="connsiteY2" fmla="*/ 588124 h 732214"/>
                <a:gd name="connsiteX3" fmla="*/ 290868 w 290868"/>
                <a:gd name="connsiteY3" fmla="*/ 613076 h 732214"/>
                <a:gd name="connsiteX4" fmla="*/ 134642 w 290868"/>
                <a:gd name="connsiteY4" fmla="*/ 732214 h 732214"/>
                <a:gd name="connsiteX5" fmla="*/ 0 w 290868"/>
                <a:gd name="connsiteY5" fmla="*/ 574780 h 732214"/>
                <a:gd name="connsiteX6" fmla="*/ 58047 w 290868"/>
                <a:gd name="connsiteY6" fmla="*/ 570009 h 732214"/>
                <a:gd name="connsiteX7" fmla="*/ 25713 w 290868"/>
                <a:gd name="connsiteY7" fmla="*/ 0 h 732214"/>
                <a:gd name="connsiteX0" fmla="*/ 25713 w 290868"/>
                <a:gd name="connsiteY0" fmla="*/ 0 h 732214"/>
                <a:gd name="connsiteX1" fmla="*/ 207125 w 290868"/>
                <a:gd name="connsiteY1" fmla="*/ 2344 h 732214"/>
                <a:gd name="connsiteX2" fmla="*/ 230676 w 290868"/>
                <a:gd name="connsiteY2" fmla="*/ 588124 h 732214"/>
                <a:gd name="connsiteX3" fmla="*/ 290868 w 290868"/>
                <a:gd name="connsiteY3" fmla="*/ 613076 h 732214"/>
                <a:gd name="connsiteX4" fmla="*/ 134642 w 290868"/>
                <a:gd name="connsiteY4" fmla="*/ 732214 h 732214"/>
                <a:gd name="connsiteX5" fmla="*/ 0 w 290868"/>
                <a:gd name="connsiteY5" fmla="*/ 574780 h 732214"/>
                <a:gd name="connsiteX6" fmla="*/ 58712 w 290868"/>
                <a:gd name="connsiteY6" fmla="*/ 580107 h 732214"/>
                <a:gd name="connsiteX7" fmla="*/ 25713 w 290868"/>
                <a:gd name="connsiteY7" fmla="*/ 0 h 732214"/>
                <a:gd name="connsiteX0" fmla="*/ 25713 w 290868"/>
                <a:gd name="connsiteY0" fmla="*/ 0 h 732214"/>
                <a:gd name="connsiteX1" fmla="*/ 207125 w 290868"/>
                <a:gd name="connsiteY1" fmla="*/ 2344 h 732214"/>
                <a:gd name="connsiteX2" fmla="*/ 227763 w 290868"/>
                <a:gd name="connsiteY2" fmla="*/ 605698 h 732214"/>
                <a:gd name="connsiteX3" fmla="*/ 290868 w 290868"/>
                <a:gd name="connsiteY3" fmla="*/ 613076 h 732214"/>
                <a:gd name="connsiteX4" fmla="*/ 134642 w 290868"/>
                <a:gd name="connsiteY4" fmla="*/ 732214 h 732214"/>
                <a:gd name="connsiteX5" fmla="*/ 0 w 290868"/>
                <a:gd name="connsiteY5" fmla="*/ 574780 h 732214"/>
                <a:gd name="connsiteX6" fmla="*/ 58712 w 290868"/>
                <a:gd name="connsiteY6" fmla="*/ 580107 h 732214"/>
                <a:gd name="connsiteX7" fmla="*/ 25713 w 290868"/>
                <a:gd name="connsiteY7" fmla="*/ 0 h 732214"/>
                <a:gd name="connsiteX0" fmla="*/ 27021 w 292176"/>
                <a:gd name="connsiteY0" fmla="*/ 0 h 732214"/>
                <a:gd name="connsiteX1" fmla="*/ 208433 w 292176"/>
                <a:gd name="connsiteY1" fmla="*/ 2344 h 732214"/>
                <a:gd name="connsiteX2" fmla="*/ 229071 w 292176"/>
                <a:gd name="connsiteY2" fmla="*/ 605698 h 732214"/>
                <a:gd name="connsiteX3" fmla="*/ 292176 w 292176"/>
                <a:gd name="connsiteY3" fmla="*/ 613076 h 732214"/>
                <a:gd name="connsiteX4" fmla="*/ 135950 w 292176"/>
                <a:gd name="connsiteY4" fmla="*/ 732214 h 732214"/>
                <a:gd name="connsiteX5" fmla="*/ 0 w 292176"/>
                <a:gd name="connsiteY5" fmla="*/ 572588 h 732214"/>
                <a:gd name="connsiteX6" fmla="*/ 60020 w 292176"/>
                <a:gd name="connsiteY6" fmla="*/ 580107 h 732214"/>
                <a:gd name="connsiteX7" fmla="*/ 27021 w 292176"/>
                <a:gd name="connsiteY7" fmla="*/ 0 h 732214"/>
                <a:gd name="connsiteX0" fmla="*/ 27021 w 292176"/>
                <a:gd name="connsiteY0" fmla="*/ 0 h 741880"/>
                <a:gd name="connsiteX1" fmla="*/ 208433 w 292176"/>
                <a:gd name="connsiteY1" fmla="*/ 2344 h 741880"/>
                <a:gd name="connsiteX2" fmla="*/ 229071 w 292176"/>
                <a:gd name="connsiteY2" fmla="*/ 605698 h 741880"/>
                <a:gd name="connsiteX3" fmla="*/ 292176 w 292176"/>
                <a:gd name="connsiteY3" fmla="*/ 613076 h 741880"/>
                <a:gd name="connsiteX4" fmla="*/ 133679 w 292176"/>
                <a:gd name="connsiteY4" fmla="*/ 741880 h 741880"/>
                <a:gd name="connsiteX5" fmla="*/ 0 w 292176"/>
                <a:gd name="connsiteY5" fmla="*/ 572588 h 741880"/>
                <a:gd name="connsiteX6" fmla="*/ 60020 w 292176"/>
                <a:gd name="connsiteY6" fmla="*/ 580107 h 741880"/>
                <a:gd name="connsiteX7" fmla="*/ 27021 w 292176"/>
                <a:gd name="connsiteY7" fmla="*/ 0 h 741880"/>
                <a:gd name="connsiteX0" fmla="*/ 27021 w 292176"/>
                <a:gd name="connsiteY0" fmla="*/ 0 h 741880"/>
                <a:gd name="connsiteX1" fmla="*/ 208433 w 292176"/>
                <a:gd name="connsiteY1" fmla="*/ 2344 h 741880"/>
                <a:gd name="connsiteX2" fmla="*/ 229713 w 292176"/>
                <a:gd name="connsiteY2" fmla="*/ 597792 h 741880"/>
                <a:gd name="connsiteX3" fmla="*/ 292176 w 292176"/>
                <a:gd name="connsiteY3" fmla="*/ 613076 h 741880"/>
                <a:gd name="connsiteX4" fmla="*/ 133679 w 292176"/>
                <a:gd name="connsiteY4" fmla="*/ 741880 h 741880"/>
                <a:gd name="connsiteX5" fmla="*/ 0 w 292176"/>
                <a:gd name="connsiteY5" fmla="*/ 572588 h 741880"/>
                <a:gd name="connsiteX6" fmla="*/ 60020 w 292176"/>
                <a:gd name="connsiteY6" fmla="*/ 580107 h 741880"/>
                <a:gd name="connsiteX7" fmla="*/ 27021 w 292176"/>
                <a:gd name="connsiteY7" fmla="*/ 0 h 741880"/>
                <a:gd name="connsiteX0" fmla="*/ 27021 w 292176"/>
                <a:gd name="connsiteY0" fmla="*/ 0 h 741880"/>
                <a:gd name="connsiteX1" fmla="*/ 219860 w 292176"/>
                <a:gd name="connsiteY1" fmla="*/ 8025 h 741880"/>
                <a:gd name="connsiteX2" fmla="*/ 229713 w 292176"/>
                <a:gd name="connsiteY2" fmla="*/ 597792 h 741880"/>
                <a:gd name="connsiteX3" fmla="*/ 292176 w 292176"/>
                <a:gd name="connsiteY3" fmla="*/ 613076 h 741880"/>
                <a:gd name="connsiteX4" fmla="*/ 133679 w 292176"/>
                <a:gd name="connsiteY4" fmla="*/ 741880 h 741880"/>
                <a:gd name="connsiteX5" fmla="*/ 0 w 292176"/>
                <a:gd name="connsiteY5" fmla="*/ 572588 h 741880"/>
                <a:gd name="connsiteX6" fmla="*/ 60020 w 292176"/>
                <a:gd name="connsiteY6" fmla="*/ 580107 h 741880"/>
                <a:gd name="connsiteX7" fmla="*/ 27021 w 292176"/>
                <a:gd name="connsiteY7" fmla="*/ 0 h 741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2176" h="741880">
                  <a:moveTo>
                    <a:pt x="27021" y="0"/>
                  </a:moveTo>
                  <a:lnTo>
                    <a:pt x="219860" y="8025"/>
                  </a:lnTo>
                  <a:cubicBezTo>
                    <a:pt x="280882" y="249963"/>
                    <a:pt x="251380" y="518322"/>
                    <a:pt x="229713" y="597792"/>
                  </a:cubicBezTo>
                  <a:lnTo>
                    <a:pt x="292176" y="613076"/>
                  </a:lnTo>
                  <a:lnTo>
                    <a:pt x="133679" y="741880"/>
                  </a:lnTo>
                  <a:lnTo>
                    <a:pt x="0" y="572588"/>
                  </a:lnTo>
                  <a:lnTo>
                    <a:pt x="60020" y="580107"/>
                  </a:lnTo>
                  <a:cubicBezTo>
                    <a:pt x="75298" y="517510"/>
                    <a:pt x="120241" y="243172"/>
                    <a:pt x="27021" y="0"/>
                  </a:cubicBezTo>
                  <a:close/>
                </a:path>
              </a:pathLst>
            </a:custGeom>
            <a:gradFill>
              <a:gsLst>
                <a:gs pos="19000">
                  <a:srgbClr val="FFFFFF">
                    <a:alpha val="56000"/>
                  </a:srgbClr>
                </a:gs>
                <a:gs pos="35000">
                  <a:srgbClr val="FFFFFF"/>
                </a:gs>
                <a:gs pos="0">
                  <a:srgbClr val="FFFFFF">
                    <a:alpha val="0"/>
                  </a:srgbClr>
                </a:gs>
              </a:gsLst>
              <a:lin ang="5400000" scaled="0"/>
            </a:gradFill>
            <a:ln w="25400" cap="flat" cmpd="sng" algn="ctr">
              <a:noFill/>
              <a:prstDash val="solid"/>
            </a:ln>
            <a:effectLst/>
          </p:spPr>
          <p:txBody>
            <a:bodyPr rtlCol="0" anchor="ctr"/>
            <a:lstStyle/>
            <a:p>
              <a:pPr algn="ctr" defTabSz="685800">
                <a:defRPr/>
              </a:pPr>
              <a:endParaRPr lang="en-US" sz="1350" kern="0" dirty="0">
                <a:solidFill>
                  <a:srgbClr val="000000"/>
                </a:solidFill>
                <a:latin typeface="Open Sans"/>
                <a:cs typeface="Open Sans"/>
              </a:endParaRPr>
            </a:p>
          </p:txBody>
        </p:sp>
        <p:sp>
          <p:nvSpPr>
            <p:cNvPr id="67" name="Curved Down Arrow 32"/>
            <p:cNvSpPr/>
            <p:nvPr>
              <p:custDataLst>
                <p:tags r:id="rId12"/>
              </p:custDataLst>
            </p:nvPr>
          </p:nvSpPr>
          <p:spPr>
            <a:xfrm rot="7725724">
              <a:off x="5168450" y="4147871"/>
              <a:ext cx="332993" cy="628284"/>
            </a:xfrm>
            <a:custGeom>
              <a:avLst/>
              <a:gdLst>
                <a:gd name="connsiteX0" fmla="*/ 0 w 389067"/>
                <a:gd name="connsiteY0" fmla="*/ 14695 h 736470"/>
                <a:gd name="connsiteX1" fmla="*/ 199235 w 389067"/>
                <a:gd name="connsiteY1" fmla="*/ 0 h 736470"/>
                <a:gd name="connsiteX2" fmla="*/ 305209 w 389067"/>
                <a:gd name="connsiteY2" fmla="*/ 580640 h 736470"/>
                <a:gd name="connsiteX3" fmla="*/ 389067 w 389067"/>
                <a:gd name="connsiteY3" fmla="*/ 576035 h 736470"/>
                <a:gd name="connsiteX4" fmla="*/ 214483 w 389067"/>
                <a:gd name="connsiteY4" fmla="*/ 736470 h 736470"/>
                <a:gd name="connsiteX5" fmla="*/ 31683 w 389067"/>
                <a:gd name="connsiteY5" fmla="*/ 593917 h 736470"/>
                <a:gd name="connsiteX6" fmla="*/ 120148 w 389067"/>
                <a:gd name="connsiteY6" fmla="*/ 580640 h 736470"/>
                <a:gd name="connsiteX7" fmla="*/ 0 w 389067"/>
                <a:gd name="connsiteY7" fmla="*/ 14695 h 736470"/>
                <a:gd name="connsiteX0" fmla="*/ 0 w 389067"/>
                <a:gd name="connsiteY0" fmla="*/ 19958 h 741733"/>
                <a:gd name="connsiteX1" fmla="*/ 207380 w 389067"/>
                <a:gd name="connsiteY1" fmla="*/ 0 h 741733"/>
                <a:gd name="connsiteX2" fmla="*/ 305209 w 389067"/>
                <a:gd name="connsiteY2" fmla="*/ 585903 h 741733"/>
                <a:gd name="connsiteX3" fmla="*/ 389067 w 389067"/>
                <a:gd name="connsiteY3" fmla="*/ 581298 h 741733"/>
                <a:gd name="connsiteX4" fmla="*/ 214483 w 389067"/>
                <a:gd name="connsiteY4" fmla="*/ 741733 h 741733"/>
                <a:gd name="connsiteX5" fmla="*/ 31683 w 389067"/>
                <a:gd name="connsiteY5" fmla="*/ 599180 h 741733"/>
                <a:gd name="connsiteX6" fmla="*/ 120148 w 389067"/>
                <a:gd name="connsiteY6" fmla="*/ 585903 h 741733"/>
                <a:gd name="connsiteX7" fmla="*/ 0 w 389067"/>
                <a:gd name="connsiteY7" fmla="*/ 19958 h 741733"/>
                <a:gd name="connsiteX0" fmla="*/ 0 w 368890"/>
                <a:gd name="connsiteY0" fmla="*/ 18947 h 741733"/>
                <a:gd name="connsiteX1" fmla="*/ 187203 w 368890"/>
                <a:gd name="connsiteY1" fmla="*/ 0 h 741733"/>
                <a:gd name="connsiteX2" fmla="*/ 285032 w 368890"/>
                <a:gd name="connsiteY2" fmla="*/ 585903 h 741733"/>
                <a:gd name="connsiteX3" fmla="*/ 368890 w 368890"/>
                <a:gd name="connsiteY3" fmla="*/ 581298 h 741733"/>
                <a:gd name="connsiteX4" fmla="*/ 194306 w 368890"/>
                <a:gd name="connsiteY4" fmla="*/ 741733 h 741733"/>
                <a:gd name="connsiteX5" fmla="*/ 11506 w 368890"/>
                <a:gd name="connsiteY5" fmla="*/ 599180 h 741733"/>
                <a:gd name="connsiteX6" fmla="*/ 99971 w 368890"/>
                <a:gd name="connsiteY6" fmla="*/ 585903 h 741733"/>
                <a:gd name="connsiteX7" fmla="*/ 0 w 368890"/>
                <a:gd name="connsiteY7" fmla="*/ 18947 h 741733"/>
                <a:gd name="connsiteX0" fmla="*/ 0 w 368890"/>
                <a:gd name="connsiteY0" fmla="*/ 4317 h 727103"/>
                <a:gd name="connsiteX1" fmla="*/ 190264 w 368890"/>
                <a:gd name="connsiteY1" fmla="*/ 0 h 727103"/>
                <a:gd name="connsiteX2" fmla="*/ 285032 w 368890"/>
                <a:gd name="connsiteY2" fmla="*/ 571273 h 727103"/>
                <a:gd name="connsiteX3" fmla="*/ 368890 w 368890"/>
                <a:gd name="connsiteY3" fmla="*/ 566668 h 727103"/>
                <a:gd name="connsiteX4" fmla="*/ 194306 w 368890"/>
                <a:gd name="connsiteY4" fmla="*/ 727103 h 727103"/>
                <a:gd name="connsiteX5" fmla="*/ 11506 w 368890"/>
                <a:gd name="connsiteY5" fmla="*/ 584550 h 727103"/>
                <a:gd name="connsiteX6" fmla="*/ 99971 w 368890"/>
                <a:gd name="connsiteY6" fmla="*/ 571273 h 727103"/>
                <a:gd name="connsiteX7" fmla="*/ 0 w 368890"/>
                <a:gd name="connsiteY7" fmla="*/ 4317 h 727103"/>
                <a:gd name="connsiteX0" fmla="*/ 0 w 368890"/>
                <a:gd name="connsiteY0" fmla="*/ 4317 h 727103"/>
                <a:gd name="connsiteX1" fmla="*/ 190264 w 368890"/>
                <a:gd name="connsiteY1" fmla="*/ 0 h 727103"/>
                <a:gd name="connsiteX2" fmla="*/ 285032 w 368890"/>
                <a:gd name="connsiteY2" fmla="*/ 571273 h 727103"/>
                <a:gd name="connsiteX3" fmla="*/ 368890 w 368890"/>
                <a:gd name="connsiteY3" fmla="*/ 566668 h 727103"/>
                <a:gd name="connsiteX4" fmla="*/ 194306 w 368890"/>
                <a:gd name="connsiteY4" fmla="*/ 727103 h 727103"/>
                <a:gd name="connsiteX5" fmla="*/ 11506 w 368890"/>
                <a:gd name="connsiteY5" fmla="*/ 584550 h 727103"/>
                <a:gd name="connsiteX6" fmla="*/ 99971 w 368890"/>
                <a:gd name="connsiteY6" fmla="*/ 571273 h 727103"/>
                <a:gd name="connsiteX7" fmla="*/ 0 w 368890"/>
                <a:gd name="connsiteY7" fmla="*/ 4317 h 727103"/>
                <a:gd name="connsiteX0" fmla="*/ 0 w 368890"/>
                <a:gd name="connsiteY0" fmla="*/ 4317 h 727103"/>
                <a:gd name="connsiteX1" fmla="*/ 190264 w 368890"/>
                <a:gd name="connsiteY1" fmla="*/ 0 h 727103"/>
                <a:gd name="connsiteX2" fmla="*/ 285032 w 368890"/>
                <a:gd name="connsiteY2" fmla="*/ 571273 h 727103"/>
                <a:gd name="connsiteX3" fmla="*/ 368890 w 368890"/>
                <a:gd name="connsiteY3" fmla="*/ 566668 h 727103"/>
                <a:gd name="connsiteX4" fmla="*/ 194306 w 368890"/>
                <a:gd name="connsiteY4" fmla="*/ 727103 h 727103"/>
                <a:gd name="connsiteX5" fmla="*/ 10684 w 368890"/>
                <a:gd name="connsiteY5" fmla="*/ 567704 h 727103"/>
                <a:gd name="connsiteX6" fmla="*/ 99971 w 368890"/>
                <a:gd name="connsiteY6" fmla="*/ 571273 h 727103"/>
                <a:gd name="connsiteX7" fmla="*/ 0 w 368890"/>
                <a:gd name="connsiteY7" fmla="*/ 4317 h 727103"/>
                <a:gd name="connsiteX0" fmla="*/ 0 w 363912"/>
                <a:gd name="connsiteY0" fmla="*/ 4317 h 727103"/>
                <a:gd name="connsiteX1" fmla="*/ 190264 w 363912"/>
                <a:gd name="connsiteY1" fmla="*/ 0 h 727103"/>
                <a:gd name="connsiteX2" fmla="*/ 285032 w 363912"/>
                <a:gd name="connsiteY2" fmla="*/ 571273 h 727103"/>
                <a:gd name="connsiteX3" fmla="*/ 363912 w 363912"/>
                <a:gd name="connsiteY3" fmla="*/ 585949 h 727103"/>
                <a:gd name="connsiteX4" fmla="*/ 194306 w 363912"/>
                <a:gd name="connsiteY4" fmla="*/ 727103 h 727103"/>
                <a:gd name="connsiteX5" fmla="*/ 10684 w 363912"/>
                <a:gd name="connsiteY5" fmla="*/ 567704 h 727103"/>
                <a:gd name="connsiteX6" fmla="*/ 99971 w 363912"/>
                <a:gd name="connsiteY6" fmla="*/ 571273 h 727103"/>
                <a:gd name="connsiteX7" fmla="*/ 0 w 363912"/>
                <a:gd name="connsiteY7" fmla="*/ 4317 h 727103"/>
                <a:gd name="connsiteX0" fmla="*/ 0 w 358113"/>
                <a:gd name="connsiteY0" fmla="*/ 4317 h 727103"/>
                <a:gd name="connsiteX1" fmla="*/ 190264 w 358113"/>
                <a:gd name="connsiteY1" fmla="*/ 0 h 727103"/>
                <a:gd name="connsiteX2" fmla="*/ 285032 w 358113"/>
                <a:gd name="connsiteY2" fmla="*/ 571273 h 727103"/>
                <a:gd name="connsiteX3" fmla="*/ 358113 w 358113"/>
                <a:gd name="connsiteY3" fmla="*/ 588385 h 727103"/>
                <a:gd name="connsiteX4" fmla="*/ 194306 w 358113"/>
                <a:gd name="connsiteY4" fmla="*/ 727103 h 727103"/>
                <a:gd name="connsiteX5" fmla="*/ 10684 w 358113"/>
                <a:gd name="connsiteY5" fmla="*/ 567704 h 727103"/>
                <a:gd name="connsiteX6" fmla="*/ 99971 w 358113"/>
                <a:gd name="connsiteY6" fmla="*/ 571273 h 727103"/>
                <a:gd name="connsiteX7" fmla="*/ 0 w 358113"/>
                <a:gd name="connsiteY7" fmla="*/ 4317 h 727103"/>
                <a:gd name="connsiteX0" fmla="*/ 0 w 358113"/>
                <a:gd name="connsiteY0" fmla="*/ 4317 h 727103"/>
                <a:gd name="connsiteX1" fmla="*/ 190264 w 358113"/>
                <a:gd name="connsiteY1" fmla="*/ 0 h 727103"/>
                <a:gd name="connsiteX2" fmla="*/ 273845 w 358113"/>
                <a:gd name="connsiteY2" fmla="*/ 584567 h 727103"/>
                <a:gd name="connsiteX3" fmla="*/ 358113 w 358113"/>
                <a:gd name="connsiteY3" fmla="*/ 588385 h 727103"/>
                <a:gd name="connsiteX4" fmla="*/ 194306 w 358113"/>
                <a:gd name="connsiteY4" fmla="*/ 727103 h 727103"/>
                <a:gd name="connsiteX5" fmla="*/ 10684 w 358113"/>
                <a:gd name="connsiteY5" fmla="*/ 567704 h 727103"/>
                <a:gd name="connsiteX6" fmla="*/ 99971 w 358113"/>
                <a:gd name="connsiteY6" fmla="*/ 571273 h 727103"/>
                <a:gd name="connsiteX7" fmla="*/ 0 w 358113"/>
                <a:gd name="connsiteY7" fmla="*/ 4317 h 727103"/>
                <a:gd name="connsiteX0" fmla="*/ 0 w 362869"/>
                <a:gd name="connsiteY0" fmla="*/ 4317 h 727103"/>
                <a:gd name="connsiteX1" fmla="*/ 190264 w 362869"/>
                <a:gd name="connsiteY1" fmla="*/ 0 h 727103"/>
                <a:gd name="connsiteX2" fmla="*/ 273845 w 362869"/>
                <a:gd name="connsiteY2" fmla="*/ 584567 h 727103"/>
                <a:gd name="connsiteX3" fmla="*/ 362869 w 362869"/>
                <a:gd name="connsiteY3" fmla="*/ 605011 h 727103"/>
                <a:gd name="connsiteX4" fmla="*/ 194306 w 362869"/>
                <a:gd name="connsiteY4" fmla="*/ 727103 h 727103"/>
                <a:gd name="connsiteX5" fmla="*/ 10684 w 362869"/>
                <a:gd name="connsiteY5" fmla="*/ 567704 h 727103"/>
                <a:gd name="connsiteX6" fmla="*/ 99971 w 362869"/>
                <a:gd name="connsiteY6" fmla="*/ 571273 h 727103"/>
                <a:gd name="connsiteX7" fmla="*/ 0 w 362869"/>
                <a:gd name="connsiteY7" fmla="*/ 4317 h 727103"/>
                <a:gd name="connsiteX0" fmla="*/ 0 w 362869"/>
                <a:gd name="connsiteY0" fmla="*/ 4317 h 727103"/>
                <a:gd name="connsiteX1" fmla="*/ 190264 w 362869"/>
                <a:gd name="connsiteY1" fmla="*/ 0 h 727103"/>
                <a:gd name="connsiteX2" fmla="*/ 273845 w 362869"/>
                <a:gd name="connsiteY2" fmla="*/ 584567 h 727103"/>
                <a:gd name="connsiteX3" fmla="*/ 362869 w 362869"/>
                <a:gd name="connsiteY3" fmla="*/ 605011 h 727103"/>
                <a:gd name="connsiteX4" fmla="*/ 194306 w 362869"/>
                <a:gd name="connsiteY4" fmla="*/ 727103 h 727103"/>
                <a:gd name="connsiteX5" fmla="*/ 22077 w 362869"/>
                <a:gd name="connsiteY5" fmla="*/ 558622 h 727103"/>
                <a:gd name="connsiteX6" fmla="*/ 99971 w 362869"/>
                <a:gd name="connsiteY6" fmla="*/ 571273 h 727103"/>
                <a:gd name="connsiteX7" fmla="*/ 0 w 362869"/>
                <a:gd name="connsiteY7" fmla="*/ 4317 h 727103"/>
                <a:gd name="connsiteX0" fmla="*/ 0 w 362869"/>
                <a:gd name="connsiteY0" fmla="*/ 4317 h 727103"/>
                <a:gd name="connsiteX1" fmla="*/ 190264 w 362869"/>
                <a:gd name="connsiteY1" fmla="*/ 0 h 727103"/>
                <a:gd name="connsiteX2" fmla="*/ 273845 w 362869"/>
                <a:gd name="connsiteY2" fmla="*/ 584567 h 727103"/>
                <a:gd name="connsiteX3" fmla="*/ 362869 w 362869"/>
                <a:gd name="connsiteY3" fmla="*/ 605011 h 727103"/>
                <a:gd name="connsiteX4" fmla="*/ 194306 w 362869"/>
                <a:gd name="connsiteY4" fmla="*/ 727103 h 727103"/>
                <a:gd name="connsiteX5" fmla="*/ 24763 w 362869"/>
                <a:gd name="connsiteY5" fmla="*/ 573252 h 727103"/>
                <a:gd name="connsiteX6" fmla="*/ 99971 w 362869"/>
                <a:gd name="connsiteY6" fmla="*/ 571273 h 727103"/>
                <a:gd name="connsiteX7" fmla="*/ 0 w 362869"/>
                <a:gd name="connsiteY7" fmla="*/ 4317 h 727103"/>
                <a:gd name="connsiteX0" fmla="*/ 0 w 359346"/>
                <a:gd name="connsiteY0" fmla="*/ 4317 h 727103"/>
                <a:gd name="connsiteX1" fmla="*/ 190264 w 359346"/>
                <a:gd name="connsiteY1" fmla="*/ 0 h 727103"/>
                <a:gd name="connsiteX2" fmla="*/ 273845 w 359346"/>
                <a:gd name="connsiteY2" fmla="*/ 584567 h 727103"/>
                <a:gd name="connsiteX3" fmla="*/ 359346 w 359346"/>
                <a:gd name="connsiteY3" fmla="*/ 613653 h 727103"/>
                <a:gd name="connsiteX4" fmla="*/ 194306 w 359346"/>
                <a:gd name="connsiteY4" fmla="*/ 727103 h 727103"/>
                <a:gd name="connsiteX5" fmla="*/ 24763 w 359346"/>
                <a:gd name="connsiteY5" fmla="*/ 573252 h 727103"/>
                <a:gd name="connsiteX6" fmla="*/ 99971 w 359346"/>
                <a:gd name="connsiteY6" fmla="*/ 571273 h 727103"/>
                <a:gd name="connsiteX7" fmla="*/ 0 w 359346"/>
                <a:gd name="connsiteY7" fmla="*/ 4317 h 727103"/>
                <a:gd name="connsiteX0" fmla="*/ 0 w 359346"/>
                <a:gd name="connsiteY0" fmla="*/ 2982 h 725768"/>
                <a:gd name="connsiteX1" fmla="*/ 204137 w 359346"/>
                <a:gd name="connsiteY1" fmla="*/ 0 h 725768"/>
                <a:gd name="connsiteX2" fmla="*/ 273845 w 359346"/>
                <a:gd name="connsiteY2" fmla="*/ 583232 h 725768"/>
                <a:gd name="connsiteX3" fmla="*/ 359346 w 359346"/>
                <a:gd name="connsiteY3" fmla="*/ 612318 h 725768"/>
                <a:gd name="connsiteX4" fmla="*/ 194306 w 359346"/>
                <a:gd name="connsiteY4" fmla="*/ 725768 h 725768"/>
                <a:gd name="connsiteX5" fmla="*/ 24763 w 359346"/>
                <a:gd name="connsiteY5" fmla="*/ 571917 h 725768"/>
                <a:gd name="connsiteX6" fmla="*/ 99971 w 359346"/>
                <a:gd name="connsiteY6" fmla="*/ 569938 h 725768"/>
                <a:gd name="connsiteX7" fmla="*/ 0 w 359346"/>
                <a:gd name="connsiteY7" fmla="*/ 2982 h 725768"/>
                <a:gd name="connsiteX0" fmla="*/ 0 w 357639"/>
                <a:gd name="connsiteY0" fmla="*/ 2982 h 725768"/>
                <a:gd name="connsiteX1" fmla="*/ 204137 w 357639"/>
                <a:gd name="connsiteY1" fmla="*/ 0 h 725768"/>
                <a:gd name="connsiteX2" fmla="*/ 273845 w 357639"/>
                <a:gd name="connsiteY2" fmla="*/ 583232 h 725768"/>
                <a:gd name="connsiteX3" fmla="*/ 357639 w 357639"/>
                <a:gd name="connsiteY3" fmla="*/ 607662 h 725768"/>
                <a:gd name="connsiteX4" fmla="*/ 194306 w 357639"/>
                <a:gd name="connsiteY4" fmla="*/ 725768 h 725768"/>
                <a:gd name="connsiteX5" fmla="*/ 24763 w 357639"/>
                <a:gd name="connsiteY5" fmla="*/ 571917 h 725768"/>
                <a:gd name="connsiteX6" fmla="*/ 99971 w 357639"/>
                <a:gd name="connsiteY6" fmla="*/ 569938 h 725768"/>
                <a:gd name="connsiteX7" fmla="*/ 0 w 357639"/>
                <a:gd name="connsiteY7" fmla="*/ 2982 h 725768"/>
                <a:gd name="connsiteX0" fmla="*/ 0 w 357639"/>
                <a:gd name="connsiteY0" fmla="*/ 2982 h 725768"/>
                <a:gd name="connsiteX1" fmla="*/ 204137 w 357639"/>
                <a:gd name="connsiteY1" fmla="*/ 0 h 725768"/>
                <a:gd name="connsiteX2" fmla="*/ 266853 w 357639"/>
                <a:gd name="connsiteY2" fmla="*/ 591541 h 725768"/>
                <a:gd name="connsiteX3" fmla="*/ 357639 w 357639"/>
                <a:gd name="connsiteY3" fmla="*/ 607662 h 725768"/>
                <a:gd name="connsiteX4" fmla="*/ 194306 w 357639"/>
                <a:gd name="connsiteY4" fmla="*/ 725768 h 725768"/>
                <a:gd name="connsiteX5" fmla="*/ 24763 w 357639"/>
                <a:gd name="connsiteY5" fmla="*/ 571917 h 725768"/>
                <a:gd name="connsiteX6" fmla="*/ 99971 w 357639"/>
                <a:gd name="connsiteY6" fmla="*/ 569938 h 725768"/>
                <a:gd name="connsiteX7" fmla="*/ 0 w 357639"/>
                <a:gd name="connsiteY7" fmla="*/ 2982 h 725768"/>
                <a:gd name="connsiteX0" fmla="*/ 0 w 353136"/>
                <a:gd name="connsiteY0" fmla="*/ 2982 h 725768"/>
                <a:gd name="connsiteX1" fmla="*/ 204137 w 353136"/>
                <a:gd name="connsiteY1" fmla="*/ 0 h 725768"/>
                <a:gd name="connsiteX2" fmla="*/ 266853 w 353136"/>
                <a:gd name="connsiteY2" fmla="*/ 591541 h 725768"/>
                <a:gd name="connsiteX3" fmla="*/ 353136 w 353136"/>
                <a:gd name="connsiteY3" fmla="*/ 606330 h 725768"/>
                <a:gd name="connsiteX4" fmla="*/ 194306 w 353136"/>
                <a:gd name="connsiteY4" fmla="*/ 725768 h 725768"/>
                <a:gd name="connsiteX5" fmla="*/ 24763 w 353136"/>
                <a:gd name="connsiteY5" fmla="*/ 571917 h 725768"/>
                <a:gd name="connsiteX6" fmla="*/ 99971 w 353136"/>
                <a:gd name="connsiteY6" fmla="*/ 569938 h 725768"/>
                <a:gd name="connsiteX7" fmla="*/ 0 w 353136"/>
                <a:gd name="connsiteY7" fmla="*/ 2982 h 725768"/>
                <a:gd name="connsiteX0" fmla="*/ 0 w 353136"/>
                <a:gd name="connsiteY0" fmla="*/ 2982 h 737458"/>
                <a:gd name="connsiteX1" fmla="*/ 204137 w 353136"/>
                <a:gd name="connsiteY1" fmla="*/ 0 h 737458"/>
                <a:gd name="connsiteX2" fmla="*/ 266853 w 353136"/>
                <a:gd name="connsiteY2" fmla="*/ 591541 h 737458"/>
                <a:gd name="connsiteX3" fmla="*/ 353136 w 353136"/>
                <a:gd name="connsiteY3" fmla="*/ 606330 h 737458"/>
                <a:gd name="connsiteX4" fmla="*/ 166471 w 353136"/>
                <a:gd name="connsiteY4" fmla="*/ 737458 h 737458"/>
                <a:gd name="connsiteX5" fmla="*/ 24763 w 353136"/>
                <a:gd name="connsiteY5" fmla="*/ 571917 h 737458"/>
                <a:gd name="connsiteX6" fmla="*/ 99971 w 353136"/>
                <a:gd name="connsiteY6" fmla="*/ 569938 h 737458"/>
                <a:gd name="connsiteX7" fmla="*/ 0 w 353136"/>
                <a:gd name="connsiteY7" fmla="*/ 2982 h 737458"/>
                <a:gd name="connsiteX0" fmla="*/ 0 w 353136"/>
                <a:gd name="connsiteY0" fmla="*/ 2982 h 735631"/>
                <a:gd name="connsiteX1" fmla="*/ 204137 w 353136"/>
                <a:gd name="connsiteY1" fmla="*/ 0 h 735631"/>
                <a:gd name="connsiteX2" fmla="*/ 266853 w 353136"/>
                <a:gd name="connsiteY2" fmla="*/ 591541 h 735631"/>
                <a:gd name="connsiteX3" fmla="*/ 353136 w 353136"/>
                <a:gd name="connsiteY3" fmla="*/ 606330 h 735631"/>
                <a:gd name="connsiteX4" fmla="*/ 170819 w 353136"/>
                <a:gd name="connsiteY4" fmla="*/ 735631 h 735631"/>
                <a:gd name="connsiteX5" fmla="*/ 24763 w 353136"/>
                <a:gd name="connsiteY5" fmla="*/ 571917 h 735631"/>
                <a:gd name="connsiteX6" fmla="*/ 99971 w 353136"/>
                <a:gd name="connsiteY6" fmla="*/ 569938 h 735631"/>
                <a:gd name="connsiteX7" fmla="*/ 0 w 353136"/>
                <a:gd name="connsiteY7" fmla="*/ 2982 h 735631"/>
                <a:gd name="connsiteX0" fmla="*/ 0 w 353136"/>
                <a:gd name="connsiteY0" fmla="*/ 2982 h 735631"/>
                <a:gd name="connsiteX1" fmla="*/ 204137 w 353136"/>
                <a:gd name="connsiteY1" fmla="*/ 0 h 735631"/>
                <a:gd name="connsiteX2" fmla="*/ 266853 w 353136"/>
                <a:gd name="connsiteY2" fmla="*/ 591541 h 735631"/>
                <a:gd name="connsiteX3" fmla="*/ 353136 w 353136"/>
                <a:gd name="connsiteY3" fmla="*/ 606330 h 735631"/>
                <a:gd name="connsiteX4" fmla="*/ 170819 w 353136"/>
                <a:gd name="connsiteY4" fmla="*/ 735631 h 735631"/>
                <a:gd name="connsiteX5" fmla="*/ 24763 w 353136"/>
                <a:gd name="connsiteY5" fmla="*/ 571917 h 735631"/>
                <a:gd name="connsiteX6" fmla="*/ 94224 w 353136"/>
                <a:gd name="connsiteY6" fmla="*/ 573426 h 735631"/>
                <a:gd name="connsiteX7" fmla="*/ 0 w 353136"/>
                <a:gd name="connsiteY7" fmla="*/ 2982 h 735631"/>
                <a:gd name="connsiteX0" fmla="*/ 0 w 353136"/>
                <a:gd name="connsiteY0" fmla="*/ 2982 h 735631"/>
                <a:gd name="connsiteX1" fmla="*/ 204137 w 353136"/>
                <a:gd name="connsiteY1" fmla="*/ 0 h 735631"/>
                <a:gd name="connsiteX2" fmla="*/ 266853 w 353136"/>
                <a:gd name="connsiteY2" fmla="*/ 591541 h 735631"/>
                <a:gd name="connsiteX3" fmla="*/ 353136 w 353136"/>
                <a:gd name="connsiteY3" fmla="*/ 606330 h 735631"/>
                <a:gd name="connsiteX4" fmla="*/ 170819 w 353136"/>
                <a:gd name="connsiteY4" fmla="*/ 735631 h 735631"/>
                <a:gd name="connsiteX5" fmla="*/ 21811 w 353136"/>
                <a:gd name="connsiteY5" fmla="*/ 572082 h 735631"/>
                <a:gd name="connsiteX6" fmla="*/ 94224 w 353136"/>
                <a:gd name="connsiteY6" fmla="*/ 573426 h 735631"/>
                <a:gd name="connsiteX7" fmla="*/ 0 w 353136"/>
                <a:gd name="connsiteY7" fmla="*/ 2982 h 735631"/>
                <a:gd name="connsiteX0" fmla="*/ 0 w 353136"/>
                <a:gd name="connsiteY0" fmla="*/ 2982 h 735631"/>
                <a:gd name="connsiteX1" fmla="*/ 204137 w 353136"/>
                <a:gd name="connsiteY1" fmla="*/ 0 h 735631"/>
                <a:gd name="connsiteX2" fmla="*/ 266853 w 353136"/>
                <a:gd name="connsiteY2" fmla="*/ 591541 h 735631"/>
                <a:gd name="connsiteX3" fmla="*/ 353136 w 353136"/>
                <a:gd name="connsiteY3" fmla="*/ 606330 h 735631"/>
                <a:gd name="connsiteX4" fmla="*/ 170819 w 353136"/>
                <a:gd name="connsiteY4" fmla="*/ 735631 h 735631"/>
                <a:gd name="connsiteX5" fmla="*/ 21811 w 353136"/>
                <a:gd name="connsiteY5" fmla="*/ 572082 h 735631"/>
                <a:gd name="connsiteX6" fmla="*/ 94224 w 353136"/>
                <a:gd name="connsiteY6" fmla="*/ 573426 h 735631"/>
                <a:gd name="connsiteX7" fmla="*/ 0 w 353136"/>
                <a:gd name="connsiteY7" fmla="*/ 2982 h 735631"/>
                <a:gd name="connsiteX0" fmla="*/ 29959 w 331325"/>
                <a:gd name="connsiteY0" fmla="*/ 0 h 735702"/>
                <a:gd name="connsiteX1" fmla="*/ 182326 w 331325"/>
                <a:gd name="connsiteY1" fmla="*/ 71 h 735702"/>
                <a:gd name="connsiteX2" fmla="*/ 245042 w 331325"/>
                <a:gd name="connsiteY2" fmla="*/ 591612 h 735702"/>
                <a:gd name="connsiteX3" fmla="*/ 331325 w 331325"/>
                <a:gd name="connsiteY3" fmla="*/ 606401 h 735702"/>
                <a:gd name="connsiteX4" fmla="*/ 149008 w 331325"/>
                <a:gd name="connsiteY4" fmla="*/ 735702 h 735702"/>
                <a:gd name="connsiteX5" fmla="*/ 0 w 331325"/>
                <a:gd name="connsiteY5" fmla="*/ 572153 h 735702"/>
                <a:gd name="connsiteX6" fmla="*/ 72413 w 331325"/>
                <a:gd name="connsiteY6" fmla="*/ 573497 h 735702"/>
                <a:gd name="connsiteX7" fmla="*/ 29959 w 331325"/>
                <a:gd name="connsiteY7" fmla="*/ 0 h 735702"/>
                <a:gd name="connsiteX0" fmla="*/ 29959 w 331325"/>
                <a:gd name="connsiteY0" fmla="*/ 0 h 735702"/>
                <a:gd name="connsiteX1" fmla="*/ 182326 w 331325"/>
                <a:gd name="connsiteY1" fmla="*/ 71 h 735702"/>
                <a:gd name="connsiteX2" fmla="*/ 245042 w 331325"/>
                <a:gd name="connsiteY2" fmla="*/ 591612 h 735702"/>
                <a:gd name="connsiteX3" fmla="*/ 331325 w 331325"/>
                <a:gd name="connsiteY3" fmla="*/ 606401 h 735702"/>
                <a:gd name="connsiteX4" fmla="*/ 149008 w 331325"/>
                <a:gd name="connsiteY4" fmla="*/ 735702 h 735702"/>
                <a:gd name="connsiteX5" fmla="*/ 0 w 331325"/>
                <a:gd name="connsiteY5" fmla="*/ 572153 h 735702"/>
                <a:gd name="connsiteX6" fmla="*/ 72413 w 331325"/>
                <a:gd name="connsiteY6" fmla="*/ 573497 h 735702"/>
                <a:gd name="connsiteX7" fmla="*/ 29959 w 331325"/>
                <a:gd name="connsiteY7" fmla="*/ 0 h 735702"/>
                <a:gd name="connsiteX0" fmla="*/ 29959 w 331325"/>
                <a:gd name="connsiteY0" fmla="*/ 0 h 735702"/>
                <a:gd name="connsiteX1" fmla="*/ 209742 w 331325"/>
                <a:gd name="connsiteY1" fmla="*/ 4105 h 735702"/>
                <a:gd name="connsiteX2" fmla="*/ 245042 w 331325"/>
                <a:gd name="connsiteY2" fmla="*/ 591612 h 735702"/>
                <a:gd name="connsiteX3" fmla="*/ 331325 w 331325"/>
                <a:gd name="connsiteY3" fmla="*/ 606401 h 735702"/>
                <a:gd name="connsiteX4" fmla="*/ 149008 w 331325"/>
                <a:gd name="connsiteY4" fmla="*/ 735702 h 735702"/>
                <a:gd name="connsiteX5" fmla="*/ 0 w 331325"/>
                <a:gd name="connsiteY5" fmla="*/ 572153 h 735702"/>
                <a:gd name="connsiteX6" fmla="*/ 72413 w 331325"/>
                <a:gd name="connsiteY6" fmla="*/ 573497 h 735702"/>
                <a:gd name="connsiteX7" fmla="*/ 29959 w 331325"/>
                <a:gd name="connsiteY7" fmla="*/ 0 h 735702"/>
                <a:gd name="connsiteX0" fmla="*/ 29959 w 331325"/>
                <a:gd name="connsiteY0" fmla="*/ 0 h 735702"/>
                <a:gd name="connsiteX1" fmla="*/ 221491 w 331325"/>
                <a:gd name="connsiteY1" fmla="*/ 5832 h 735702"/>
                <a:gd name="connsiteX2" fmla="*/ 245042 w 331325"/>
                <a:gd name="connsiteY2" fmla="*/ 591612 h 735702"/>
                <a:gd name="connsiteX3" fmla="*/ 331325 w 331325"/>
                <a:gd name="connsiteY3" fmla="*/ 606401 h 735702"/>
                <a:gd name="connsiteX4" fmla="*/ 149008 w 331325"/>
                <a:gd name="connsiteY4" fmla="*/ 735702 h 735702"/>
                <a:gd name="connsiteX5" fmla="*/ 0 w 331325"/>
                <a:gd name="connsiteY5" fmla="*/ 572153 h 735702"/>
                <a:gd name="connsiteX6" fmla="*/ 72413 w 331325"/>
                <a:gd name="connsiteY6" fmla="*/ 573497 h 735702"/>
                <a:gd name="connsiteX7" fmla="*/ 29959 w 331325"/>
                <a:gd name="connsiteY7" fmla="*/ 0 h 735702"/>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25713 w 316959"/>
                <a:gd name="connsiteY0" fmla="*/ 0 h 732214"/>
                <a:gd name="connsiteX1" fmla="*/ 207125 w 316959"/>
                <a:gd name="connsiteY1" fmla="*/ 2344 h 732214"/>
                <a:gd name="connsiteX2" fmla="*/ 230676 w 316959"/>
                <a:gd name="connsiteY2" fmla="*/ 588124 h 732214"/>
                <a:gd name="connsiteX3" fmla="*/ 316959 w 316959"/>
                <a:gd name="connsiteY3" fmla="*/ 602913 h 732214"/>
                <a:gd name="connsiteX4" fmla="*/ 134642 w 316959"/>
                <a:gd name="connsiteY4" fmla="*/ 732214 h 732214"/>
                <a:gd name="connsiteX5" fmla="*/ 0 w 316959"/>
                <a:gd name="connsiteY5" fmla="*/ 574780 h 732214"/>
                <a:gd name="connsiteX6" fmla="*/ 58047 w 316959"/>
                <a:gd name="connsiteY6" fmla="*/ 570009 h 732214"/>
                <a:gd name="connsiteX7" fmla="*/ 25713 w 316959"/>
                <a:gd name="connsiteY7" fmla="*/ 0 h 732214"/>
                <a:gd name="connsiteX0" fmla="*/ 25713 w 290868"/>
                <a:gd name="connsiteY0" fmla="*/ 0 h 732214"/>
                <a:gd name="connsiteX1" fmla="*/ 207125 w 290868"/>
                <a:gd name="connsiteY1" fmla="*/ 2344 h 732214"/>
                <a:gd name="connsiteX2" fmla="*/ 230676 w 290868"/>
                <a:gd name="connsiteY2" fmla="*/ 588124 h 732214"/>
                <a:gd name="connsiteX3" fmla="*/ 290868 w 290868"/>
                <a:gd name="connsiteY3" fmla="*/ 613076 h 732214"/>
                <a:gd name="connsiteX4" fmla="*/ 134642 w 290868"/>
                <a:gd name="connsiteY4" fmla="*/ 732214 h 732214"/>
                <a:gd name="connsiteX5" fmla="*/ 0 w 290868"/>
                <a:gd name="connsiteY5" fmla="*/ 574780 h 732214"/>
                <a:gd name="connsiteX6" fmla="*/ 58047 w 290868"/>
                <a:gd name="connsiteY6" fmla="*/ 570009 h 732214"/>
                <a:gd name="connsiteX7" fmla="*/ 25713 w 290868"/>
                <a:gd name="connsiteY7" fmla="*/ 0 h 732214"/>
                <a:gd name="connsiteX0" fmla="*/ 25713 w 290868"/>
                <a:gd name="connsiteY0" fmla="*/ 0 h 732214"/>
                <a:gd name="connsiteX1" fmla="*/ 207125 w 290868"/>
                <a:gd name="connsiteY1" fmla="*/ 2344 h 732214"/>
                <a:gd name="connsiteX2" fmla="*/ 230676 w 290868"/>
                <a:gd name="connsiteY2" fmla="*/ 588124 h 732214"/>
                <a:gd name="connsiteX3" fmla="*/ 290868 w 290868"/>
                <a:gd name="connsiteY3" fmla="*/ 613076 h 732214"/>
                <a:gd name="connsiteX4" fmla="*/ 134642 w 290868"/>
                <a:gd name="connsiteY4" fmla="*/ 732214 h 732214"/>
                <a:gd name="connsiteX5" fmla="*/ 0 w 290868"/>
                <a:gd name="connsiteY5" fmla="*/ 574780 h 732214"/>
                <a:gd name="connsiteX6" fmla="*/ 58712 w 290868"/>
                <a:gd name="connsiteY6" fmla="*/ 580107 h 732214"/>
                <a:gd name="connsiteX7" fmla="*/ 25713 w 290868"/>
                <a:gd name="connsiteY7" fmla="*/ 0 h 732214"/>
                <a:gd name="connsiteX0" fmla="*/ 25713 w 290868"/>
                <a:gd name="connsiteY0" fmla="*/ 0 h 732214"/>
                <a:gd name="connsiteX1" fmla="*/ 207125 w 290868"/>
                <a:gd name="connsiteY1" fmla="*/ 2344 h 732214"/>
                <a:gd name="connsiteX2" fmla="*/ 227763 w 290868"/>
                <a:gd name="connsiteY2" fmla="*/ 605698 h 732214"/>
                <a:gd name="connsiteX3" fmla="*/ 290868 w 290868"/>
                <a:gd name="connsiteY3" fmla="*/ 613076 h 732214"/>
                <a:gd name="connsiteX4" fmla="*/ 134642 w 290868"/>
                <a:gd name="connsiteY4" fmla="*/ 732214 h 732214"/>
                <a:gd name="connsiteX5" fmla="*/ 0 w 290868"/>
                <a:gd name="connsiteY5" fmla="*/ 574780 h 732214"/>
                <a:gd name="connsiteX6" fmla="*/ 58712 w 290868"/>
                <a:gd name="connsiteY6" fmla="*/ 580107 h 732214"/>
                <a:gd name="connsiteX7" fmla="*/ 25713 w 290868"/>
                <a:gd name="connsiteY7" fmla="*/ 0 h 732214"/>
                <a:gd name="connsiteX0" fmla="*/ 27021 w 292176"/>
                <a:gd name="connsiteY0" fmla="*/ 0 h 732214"/>
                <a:gd name="connsiteX1" fmla="*/ 208433 w 292176"/>
                <a:gd name="connsiteY1" fmla="*/ 2344 h 732214"/>
                <a:gd name="connsiteX2" fmla="*/ 229071 w 292176"/>
                <a:gd name="connsiteY2" fmla="*/ 605698 h 732214"/>
                <a:gd name="connsiteX3" fmla="*/ 292176 w 292176"/>
                <a:gd name="connsiteY3" fmla="*/ 613076 h 732214"/>
                <a:gd name="connsiteX4" fmla="*/ 135950 w 292176"/>
                <a:gd name="connsiteY4" fmla="*/ 732214 h 732214"/>
                <a:gd name="connsiteX5" fmla="*/ 0 w 292176"/>
                <a:gd name="connsiteY5" fmla="*/ 572588 h 732214"/>
                <a:gd name="connsiteX6" fmla="*/ 60020 w 292176"/>
                <a:gd name="connsiteY6" fmla="*/ 580107 h 732214"/>
                <a:gd name="connsiteX7" fmla="*/ 27021 w 292176"/>
                <a:gd name="connsiteY7" fmla="*/ 0 h 732214"/>
                <a:gd name="connsiteX0" fmla="*/ 27021 w 292176"/>
                <a:gd name="connsiteY0" fmla="*/ 0 h 741880"/>
                <a:gd name="connsiteX1" fmla="*/ 208433 w 292176"/>
                <a:gd name="connsiteY1" fmla="*/ 2344 h 741880"/>
                <a:gd name="connsiteX2" fmla="*/ 229071 w 292176"/>
                <a:gd name="connsiteY2" fmla="*/ 605698 h 741880"/>
                <a:gd name="connsiteX3" fmla="*/ 292176 w 292176"/>
                <a:gd name="connsiteY3" fmla="*/ 613076 h 741880"/>
                <a:gd name="connsiteX4" fmla="*/ 133679 w 292176"/>
                <a:gd name="connsiteY4" fmla="*/ 741880 h 741880"/>
                <a:gd name="connsiteX5" fmla="*/ 0 w 292176"/>
                <a:gd name="connsiteY5" fmla="*/ 572588 h 741880"/>
                <a:gd name="connsiteX6" fmla="*/ 60020 w 292176"/>
                <a:gd name="connsiteY6" fmla="*/ 580107 h 741880"/>
                <a:gd name="connsiteX7" fmla="*/ 27021 w 292176"/>
                <a:gd name="connsiteY7" fmla="*/ 0 h 741880"/>
                <a:gd name="connsiteX0" fmla="*/ 27021 w 292176"/>
                <a:gd name="connsiteY0" fmla="*/ 0 h 741880"/>
                <a:gd name="connsiteX1" fmla="*/ 208433 w 292176"/>
                <a:gd name="connsiteY1" fmla="*/ 2344 h 741880"/>
                <a:gd name="connsiteX2" fmla="*/ 229713 w 292176"/>
                <a:gd name="connsiteY2" fmla="*/ 597792 h 741880"/>
                <a:gd name="connsiteX3" fmla="*/ 292176 w 292176"/>
                <a:gd name="connsiteY3" fmla="*/ 613076 h 741880"/>
                <a:gd name="connsiteX4" fmla="*/ 133679 w 292176"/>
                <a:gd name="connsiteY4" fmla="*/ 741880 h 741880"/>
                <a:gd name="connsiteX5" fmla="*/ 0 w 292176"/>
                <a:gd name="connsiteY5" fmla="*/ 572588 h 741880"/>
                <a:gd name="connsiteX6" fmla="*/ 60020 w 292176"/>
                <a:gd name="connsiteY6" fmla="*/ 580107 h 741880"/>
                <a:gd name="connsiteX7" fmla="*/ 27021 w 292176"/>
                <a:gd name="connsiteY7" fmla="*/ 0 h 741880"/>
                <a:gd name="connsiteX0" fmla="*/ 27021 w 292176"/>
                <a:gd name="connsiteY0" fmla="*/ 0 h 741880"/>
                <a:gd name="connsiteX1" fmla="*/ 219860 w 292176"/>
                <a:gd name="connsiteY1" fmla="*/ 8025 h 741880"/>
                <a:gd name="connsiteX2" fmla="*/ 229713 w 292176"/>
                <a:gd name="connsiteY2" fmla="*/ 597792 h 741880"/>
                <a:gd name="connsiteX3" fmla="*/ 292176 w 292176"/>
                <a:gd name="connsiteY3" fmla="*/ 613076 h 741880"/>
                <a:gd name="connsiteX4" fmla="*/ 133679 w 292176"/>
                <a:gd name="connsiteY4" fmla="*/ 741880 h 741880"/>
                <a:gd name="connsiteX5" fmla="*/ 0 w 292176"/>
                <a:gd name="connsiteY5" fmla="*/ 572588 h 741880"/>
                <a:gd name="connsiteX6" fmla="*/ 60020 w 292176"/>
                <a:gd name="connsiteY6" fmla="*/ 580107 h 741880"/>
                <a:gd name="connsiteX7" fmla="*/ 27021 w 292176"/>
                <a:gd name="connsiteY7" fmla="*/ 0 h 741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2176" h="741880">
                  <a:moveTo>
                    <a:pt x="27021" y="0"/>
                  </a:moveTo>
                  <a:lnTo>
                    <a:pt x="219860" y="8025"/>
                  </a:lnTo>
                  <a:cubicBezTo>
                    <a:pt x="280882" y="249963"/>
                    <a:pt x="251380" y="518322"/>
                    <a:pt x="229713" y="597792"/>
                  </a:cubicBezTo>
                  <a:lnTo>
                    <a:pt x="292176" y="613076"/>
                  </a:lnTo>
                  <a:lnTo>
                    <a:pt x="133679" y="741880"/>
                  </a:lnTo>
                  <a:lnTo>
                    <a:pt x="0" y="572588"/>
                  </a:lnTo>
                  <a:lnTo>
                    <a:pt x="60020" y="580107"/>
                  </a:lnTo>
                  <a:cubicBezTo>
                    <a:pt x="75298" y="517510"/>
                    <a:pt x="120241" y="243172"/>
                    <a:pt x="27021" y="0"/>
                  </a:cubicBezTo>
                  <a:close/>
                </a:path>
              </a:pathLst>
            </a:custGeom>
            <a:gradFill>
              <a:gsLst>
                <a:gs pos="19000">
                  <a:srgbClr val="FFFFFF">
                    <a:alpha val="56000"/>
                  </a:srgbClr>
                </a:gs>
                <a:gs pos="35000">
                  <a:srgbClr val="FFFFFF"/>
                </a:gs>
                <a:gs pos="0">
                  <a:srgbClr val="FFFFFF">
                    <a:alpha val="0"/>
                  </a:srgbClr>
                </a:gs>
              </a:gsLst>
              <a:lin ang="5400000" scaled="0"/>
            </a:gradFill>
            <a:ln w="25400" cap="flat" cmpd="sng" algn="ctr">
              <a:noFill/>
              <a:prstDash val="solid"/>
            </a:ln>
            <a:effectLst/>
          </p:spPr>
          <p:txBody>
            <a:bodyPr rtlCol="0" anchor="ctr"/>
            <a:lstStyle/>
            <a:p>
              <a:pPr algn="ctr" defTabSz="685800">
                <a:defRPr/>
              </a:pPr>
              <a:endParaRPr lang="en-US" sz="1350" kern="0" dirty="0">
                <a:solidFill>
                  <a:srgbClr val="000000"/>
                </a:solidFill>
                <a:latin typeface="Open Sans"/>
                <a:cs typeface="Open Sans"/>
              </a:endParaRPr>
            </a:p>
          </p:txBody>
        </p:sp>
        <p:sp>
          <p:nvSpPr>
            <p:cNvPr id="68" name="Curved Down Arrow 32"/>
            <p:cNvSpPr/>
            <p:nvPr>
              <p:custDataLst>
                <p:tags r:id="rId13"/>
              </p:custDataLst>
            </p:nvPr>
          </p:nvSpPr>
          <p:spPr>
            <a:xfrm rot="2325724">
              <a:off x="5168450" y="2559290"/>
              <a:ext cx="332993" cy="628284"/>
            </a:xfrm>
            <a:custGeom>
              <a:avLst/>
              <a:gdLst>
                <a:gd name="connsiteX0" fmla="*/ 0 w 389067"/>
                <a:gd name="connsiteY0" fmla="*/ 14695 h 736470"/>
                <a:gd name="connsiteX1" fmla="*/ 199235 w 389067"/>
                <a:gd name="connsiteY1" fmla="*/ 0 h 736470"/>
                <a:gd name="connsiteX2" fmla="*/ 305209 w 389067"/>
                <a:gd name="connsiteY2" fmla="*/ 580640 h 736470"/>
                <a:gd name="connsiteX3" fmla="*/ 389067 w 389067"/>
                <a:gd name="connsiteY3" fmla="*/ 576035 h 736470"/>
                <a:gd name="connsiteX4" fmla="*/ 214483 w 389067"/>
                <a:gd name="connsiteY4" fmla="*/ 736470 h 736470"/>
                <a:gd name="connsiteX5" fmla="*/ 31683 w 389067"/>
                <a:gd name="connsiteY5" fmla="*/ 593917 h 736470"/>
                <a:gd name="connsiteX6" fmla="*/ 120148 w 389067"/>
                <a:gd name="connsiteY6" fmla="*/ 580640 h 736470"/>
                <a:gd name="connsiteX7" fmla="*/ 0 w 389067"/>
                <a:gd name="connsiteY7" fmla="*/ 14695 h 736470"/>
                <a:gd name="connsiteX0" fmla="*/ 0 w 389067"/>
                <a:gd name="connsiteY0" fmla="*/ 19958 h 741733"/>
                <a:gd name="connsiteX1" fmla="*/ 207380 w 389067"/>
                <a:gd name="connsiteY1" fmla="*/ 0 h 741733"/>
                <a:gd name="connsiteX2" fmla="*/ 305209 w 389067"/>
                <a:gd name="connsiteY2" fmla="*/ 585903 h 741733"/>
                <a:gd name="connsiteX3" fmla="*/ 389067 w 389067"/>
                <a:gd name="connsiteY3" fmla="*/ 581298 h 741733"/>
                <a:gd name="connsiteX4" fmla="*/ 214483 w 389067"/>
                <a:gd name="connsiteY4" fmla="*/ 741733 h 741733"/>
                <a:gd name="connsiteX5" fmla="*/ 31683 w 389067"/>
                <a:gd name="connsiteY5" fmla="*/ 599180 h 741733"/>
                <a:gd name="connsiteX6" fmla="*/ 120148 w 389067"/>
                <a:gd name="connsiteY6" fmla="*/ 585903 h 741733"/>
                <a:gd name="connsiteX7" fmla="*/ 0 w 389067"/>
                <a:gd name="connsiteY7" fmla="*/ 19958 h 741733"/>
                <a:gd name="connsiteX0" fmla="*/ 0 w 368890"/>
                <a:gd name="connsiteY0" fmla="*/ 18947 h 741733"/>
                <a:gd name="connsiteX1" fmla="*/ 187203 w 368890"/>
                <a:gd name="connsiteY1" fmla="*/ 0 h 741733"/>
                <a:gd name="connsiteX2" fmla="*/ 285032 w 368890"/>
                <a:gd name="connsiteY2" fmla="*/ 585903 h 741733"/>
                <a:gd name="connsiteX3" fmla="*/ 368890 w 368890"/>
                <a:gd name="connsiteY3" fmla="*/ 581298 h 741733"/>
                <a:gd name="connsiteX4" fmla="*/ 194306 w 368890"/>
                <a:gd name="connsiteY4" fmla="*/ 741733 h 741733"/>
                <a:gd name="connsiteX5" fmla="*/ 11506 w 368890"/>
                <a:gd name="connsiteY5" fmla="*/ 599180 h 741733"/>
                <a:gd name="connsiteX6" fmla="*/ 99971 w 368890"/>
                <a:gd name="connsiteY6" fmla="*/ 585903 h 741733"/>
                <a:gd name="connsiteX7" fmla="*/ 0 w 368890"/>
                <a:gd name="connsiteY7" fmla="*/ 18947 h 741733"/>
                <a:gd name="connsiteX0" fmla="*/ 0 w 368890"/>
                <a:gd name="connsiteY0" fmla="*/ 4317 h 727103"/>
                <a:gd name="connsiteX1" fmla="*/ 190264 w 368890"/>
                <a:gd name="connsiteY1" fmla="*/ 0 h 727103"/>
                <a:gd name="connsiteX2" fmla="*/ 285032 w 368890"/>
                <a:gd name="connsiteY2" fmla="*/ 571273 h 727103"/>
                <a:gd name="connsiteX3" fmla="*/ 368890 w 368890"/>
                <a:gd name="connsiteY3" fmla="*/ 566668 h 727103"/>
                <a:gd name="connsiteX4" fmla="*/ 194306 w 368890"/>
                <a:gd name="connsiteY4" fmla="*/ 727103 h 727103"/>
                <a:gd name="connsiteX5" fmla="*/ 11506 w 368890"/>
                <a:gd name="connsiteY5" fmla="*/ 584550 h 727103"/>
                <a:gd name="connsiteX6" fmla="*/ 99971 w 368890"/>
                <a:gd name="connsiteY6" fmla="*/ 571273 h 727103"/>
                <a:gd name="connsiteX7" fmla="*/ 0 w 368890"/>
                <a:gd name="connsiteY7" fmla="*/ 4317 h 727103"/>
                <a:gd name="connsiteX0" fmla="*/ 0 w 368890"/>
                <a:gd name="connsiteY0" fmla="*/ 4317 h 727103"/>
                <a:gd name="connsiteX1" fmla="*/ 190264 w 368890"/>
                <a:gd name="connsiteY1" fmla="*/ 0 h 727103"/>
                <a:gd name="connsiteX2" fmla="*/ 285032 w 368890"/>
                <a:gd name="connsiteY2" fmla="*/ 571273 h 727103"/>
                <a:gd name="connsiteX3" fmla="*/ 368890 w 368890"/>
                <a:gd name="connsiteY3" fmla="*/ 566668 h 727103"/>
                <a:gd name="connsiteX4" fmla="*/ 194306 w 368890"/>
                <a:gd name="connsiteY4" fmla="*/ 727103 h 727103"/>
                <a:gd name="connsiteX5" fmla="*/ 11506 w 368890"/>
                <a:gd name="connsiteY5" fmla="*/ 584550 h 727103"/>
                <a:gd name="connsiteX6" fmla="*/ 99971 w 368890"/>
                <a:gd name="connsiteY6" fmla="*/ 571273 h 727103"/>
                <a:gd name="connsiteX7" fmla="*/ 0 w 368890"/>
                <a:gd name="connsiteY7" fmla="*/ 4317 h 727103"/>
                <a:gd name="connsiteX0" fmla="*/ 0 w 368890"/>
                <a:gd name="connsiteY0" fmla="*/ 4317 h 727103"/>
                <a:gd name="connsiteX1" fmla="*/ 190264 w 368890"/>
                <a:gd name="connsiteY1" fmla="*/ 0 h 727103"/>
                <a:gd name="connsiteX2" fmla="*/ 285032 w 368890"/>
                <a:gd name="connsiteY2" fmla="*/ 571273 h 727103"/>
                <a:gd name="connsiteX3" fmla="*/ 368890 w 368890"/>
                <a:gd name="connsiteY3" fmla="*/ 566668 h 727103"/>
                <a:gd name="connsiteX4" fmla="*/ 194306 w 368890"/>
                <a:gd name="connsiteY4" fmla="*/ 727103 h 727103"/>
                <a:gd name="connsiteX5" fmla="*/ 10684 w 368890"/>
                <a:gd name="connsiteY5" fmla="*/ 567704 h 727103"/>
                <a:gd name="connsiteX6" fmla="*/ 99971 w 368890"/>
                <a:gd name="connsiteY6" fmla="*/ 571273 h 727103"/>
                <a:gd name="connsiteX7" fmla="*/ 0 w 368890"/>
                <a:gd name="connsiteY7" fmla="*/ 4317 h 727103"/>
                <a:gd name="connsiteX0" fmla="*/ 0 w 363912"/>
                <a:gd name="connsiteY0" fmla="*/ 4317 h 727103"/>
                <a:gd name="connsiteX1" fmla="*/ 190264 w 363912"/>
                <a:gd name="connsiteY1" fmla="*/ 0 h 727103"/>
                <a:gd name="connsiteX2" fmla="*/ 285032 w 363912"/>
                <a:gd name="connsiteY2" fmla="*/ 571273 h 727103"/>
                <a:gd name="connsiteX3" fmla="*/ 363912 w 363912"/>
                <a:gd name="connsiteY3" fmla="*/ 585949 h 727103"/>
                <a:gd name="connsiteX4" fmla="*/ 194306 w 363912"/>
                <a:gd name="connsiteY4" fmla="*/ 727103 h 727103"/>
                <a:gd name="connsiteX5" fmla="*/ 10684 w 363912"/>
                <a:gd name="connsiteY5" fmla="*/ 567704 h 727103"/>
                <a:gd name="connsiteX6" fmla="*/ 99971 w 363912"/>
                <a:gd name="connsiteY6" fmla="*/ 571273 h 727103"/>
                <a:gd name="connsiteX7" fmla="*/ 0 w 363912"/>
                <a:gd name="connsiteY7" fmla="*/ 4317 h 727103"/>
                <a:gd name="connsiteX0" fmla="*/ 0 w 358113"/>
                <a:gd name="connsiteY0" fmla="*/ 4317 h 727103"/>
                <a:gd name="connsiteX1" fmla="*/ 190264 w 358113"/>
                <a:gd name="connsiteY1" fmla="*/ 0 h 727103"/>
                <a:gd name="connsiteX2" fmla="*/ 285032 w 358113"/>
                <a:gd name="connsiteY2" fmla="*/ 571273 h 727103"/>
                <a:gd name="connsiteX3" fmla="*/ 358113 w 358113"/>
                <a:gd name="connsiteY3" fmla="*/ 588385 h 727103"/>
                <a:gd name="connsiteX4" fmla="*/ 194306 w 358113"/>
                <a:gd name="connsiteY4" fmla="*/ 727103 h 727103"/>
                <a:gd name="connsiteX5" fmla="*/ 10684 w 358113"/>
                <a:gd name="connsiteY5" fmla="*/ 567704 h 727103"/>
                <a:gd name="connsiteX6" fmla="*/ 99971 w 358113"/>
                <a:gd name="connsiteY6" fmla="*/ 571273 h 727103"/>
                <a:gd name="connsiteX7" fmla="*/ 0 w 358113"/>
                <a:gd name="connsiteY7" fmla="*/ 4317 h 727103"/>
                <a:gd name="connsiteX0" fmla="*/ 0 w 358113"/>
                <a:gd name="connsiteY0" fmla="*/ 4317 h 727103"/>
                <a:gd name="connsiteX1" fmla="*/ 190264 w 358113"/>
                <a:gd name="connsiteY1" fmla="*/ 0 h 727103"/>
                <a:gd name="connsiteX2" fmla="*/ 273845 w 358113"/>
                <a:gd name="connsiteY2" fmla="*/ 584567 h 727103"/>
                <a:gd name="connsiteX3" fmla="*/ 358113 w 358113"/>
                <a:gd name="connsiteY3" fmla="*/ 588385 h 727103"/>
                <a:gd name="connsiteX4" fmla="*/ 194306 w 358113"/>
                <a:gd name="connsiteY4" fmla="*/ 727103 h 727103"/>
                <a:gd name="connsiteX5" fmla="*/ 10684 w 358113"/>
                <a:gd name="connsiteY5" fmla="*/ 567704 h 727103"/>
                <a:gd name="connsiteX6" fmla="*/ 99971 w 358113"/>
                <a:gd name="connsiteY6" fmla="*/ 571273 h 727103"/>
                <a:gd name="connsiteX7" fmla="*/ 0 w 358113"/>
                <a:gd name="connsiteY7" fmla="*/ 4317 h 727103"/>
                <a:gd name="connsiteX0" fmla="*/ 0 w 362869"/>
                <a:gd name="connsiteY0" fmla="*/ 4317 h 727103"/>
                <a:gd name="connsiteX1" fmla="*/ 190264 w 362869"/>
                <a:gd name="connsiteY1" fmla="*/ 0 h 727103"/>
                <a:gd name="connsiteX2" fmla="*/ 273845 w 362869"/>
                <a:gd name="connsiteY2" fmla="*/ 584567 h 727103"/>
                <a:gd name="connsiteX3" fmla="*/ 362869 w 362869"/>
                <a:gd name="connsiteY3" fmla="*/ 605011 h 727103"/>
                <a:gd name="connsiteX4" fmla="*/ 194306 w 362869"/>
                <a:gd name="connsiteY4" fmla="*/ 727103 h 727103"/>
                <a:gd name="connsiteX5" fmla="*/ 10684 w 362869"/>
                <a:gd name="connsiteY5" fmla="*/ 567704 h 727103"/>
                <a:gd name="connsiteX6" fmla="*/ 99971 w 362869"/>
                <a:gd name="connsiteY6" fmla="*/ 571273 h 727103"/>
                <a:gd name="connsiteX7" fmla="*/ 0 w 362869"/>
                <a:gd name="connsiteY7" fmla="*/ 4317 h 727103"/>
                <a:gd name="connsiteX0" fmla="*/ 0 w 362869"/>
                <a:gd name="connsiteY0" fmla="*/ 4317 h 727103"/>
                <a:gd name="connsiteX1" fmla="*/ 190264 w 362869"/>
                <a:gd name="connsiteY1" fmla="*/ 0 h 727103"/>
                <a:gd name="connsiteX2" fmla="*/ 273845 w 362869"/>
                <a:gd name="connsiteY2" fmla="*/ 584567 h 727103"/>
                <a:gd name="connsiteX3" fmla="*/ 362869 w 362869"/>
                <a:gd name="connsiteY3" fmla="*/ 605011 h 727103"/>
                <a:gd name="connsiteX4" fmla="*/ 194306 w 362869"/>
                <a:gd name="connsiteY4" fmla="*/ 727103 h 727103"/>
                <a:gd name="connsiteX5" fmla="*/ 22077 w 362869"/>
                <a:gd name="connsiteY5" fmla="*/ 558622 h 727103"/>
                <a:gd name="connsiteX6" fmla="*/ 99971 w 362869"/>
                <a:gd name="connsiteY6" fmla="*/ 571273 h 727103"/>
                <a:gd name="connsiteX7" fmla="*/ 0 w 362869"/>
                <a:gd name="connsiteY7" fmla="*/ 4317 h 727103"/>
                <a:gd name="connsiteX0" fmla="*/ 0 w 362869"/>
                <a:gd name="connsiteY0" fmla="*/ 4317 h 727103"/>
                <a:gd name="connsiteX1" fmla="*/ 190264 w 362869"/>
                <a:gd name="connsiteY1" fmla="*/ 0 h 727103"/>
                <a:gd name="connsiteX2" fmla="*/ 273845 w 362869"/>
                <a:gd name="connsiteY2" fmla="*/ 584567 h 727103"/>
                <a:gd name="connsiteX3" fmla="*/ 362869 w 362869"/>
                <a:gd name="connsiteY3" fmla="*/ 605011 h 727103"/>
                <a:gd name="connsiteX4" fmla="*/ 194306 w 362869"/>
                <a:gd name="connsiteY4" fmla="*/ 727103 h 727103"/>
                <a:gd name="connsiteX5" fmla="*/ 24763 w 362869"/>
                <a:gd name="connsiteY5" fmla="*/ 573252 h 727103"/>
                <a:gd name="connsiteX6" fmla="*/ 99971 w 362869"/>
                <a:gd name="connsiteY6" fmla="*/ 571273 h 727103"/>
                <a:gd name="connsiteX7" fmla="*/ 0 w 362869"/>
                <a:gd name="connsiteY7" fmla="*/ 4317 h 727103"/>
                <a:gd name="connsiteX0" fmla="*/ 0 w 359346"/>
                <a:gd name="connsiteY0" fmla="*/ 4317 h 727103"/>
                <a:gd name="connsiteX1" fmla="*/ 190264 w 359346"/>
                <a:gd name="connsiteY1" fmla="*/ 0 h 727103"/>
                <a:gd name="connsiteX2" fmla="*/ 273845 w 359346"/>
                <a:gd name="connsiteY2" fmla="*/ 584567 h 727103"/>
                <a:gd name="connsiteX3" fmla="*/ 359346 w 359346"/>
                <a:gd name="connsiteY3" fmla="*/ 613653 h 727103"/>
                <a:gd name="connsiteX4" fmla="*/ 194306 w 359346"/>
                <a:gd name="connsiteY4" fmla="*/ 727103 h 727103"/>
                <a:gd name="connsiteX5" fmla="*/ 24763 w 359346"/>
                <a:gd name="connsiteY5" fmla="*/ 573252 h 727103"/>
                <a:gd name="connsiteX6" fmla="*/ 99971 w 359346"/>
                <a:gd name="connsiteY6" fmla="*/ 571273 h 727103"/>
                <a:gd name="connsiteX7" fmla="*/ 0 w 359346"/>
                <a:gd name="connsiteY7" fmla="*/ 4317 h 727103"/>
                <a:gd name="connsiteX0" fmla="*/ 0 w 359346"/>
                <a:gd name="connsiteY0" fmla="*/ 2982 h 725768"/>
                <a:gd name="connsiteX1" fmla="*/ 204137 w 359346"/>
                <a:gd name="connsiteY1" fmla="*/ 0 h 725768"/>
                <a:gd name="connsiteX2" fmla="*/ 273845 w 359346"/>
                <a:gd name="connsiteY2" fmla="*/ 583232 h 725768"/>
                <a:gd name="connsiteX3" fmla="*/ 359346 w 359346"/>
                <a:gd name="connsiteY3" fmla="*/ 612318 h 725768"/>
                <a:gd name="connsiteX4" fmla="*/ 194306 w 359346"/>
                <a:gd name="connsiteY4" fmla="*/ 725768 h 725768"/>
                <a:gd name="connsiteX5" fmla="*/ 24763 w 359346"/>
                <a:gd name="connsiteY5" fmla="*/ 571917 h 725768"/>
                <a:gd name="connsiteX6" fmla="*/ 99971 w 359346"/>
                <a:gd name="connsiteY6" fmla="*/ 569938 h 725768"/>
                <a:gd name="connsiteX7" fmla="*/ 0 w 359346"/>
                <a:gd name="connsiteY7" fmla="*/ 2982 h 725768"/>
                <a:gd name="connsiteX0" fmla="*/ 0 w 357639"/>
                <a:gd name="connsiteY0" fmla="*/ 2982 h 725768"/>
                <a:gd name="connsiteX1" fmla="*/ 204137 w 357639"/>
                <a:gd name="connsiteY1" fmla="*/ 0 h 725768"/>
                <a:gd name="connsiteX2" fmla="*/ 273845 w 357639"/>
                <a:gd name="connsiteY2" fmla="*/ 583232 h 725768"/>
                <a:gd name="connsiteX3" fmla="*/ 357639 w 357639"/>
                <a:gd name="connsiteY3" fmla="*/ 607662 h 725768"/>
                <a:gd name="connsiteX4" fmla="*/ 194306 w 357639"/>
                <a:gd name="connsiteY4" fmla="*/ 725768 h 725768"/>
                <a:gd name="connsiteX5" fmla="*/ 24763 w 357639"/>
                <a:gd name="connsiteY5" fmla="*/ 571917 h 725768"/>
                <a:gd name="connsiteX6" fmla="*/ 99971 w 357639"/>
                <a:gd name="connsiteY6" fmla="*/ 569938 h 725768"/>
                <a:gd name="connsiteX7" fmla="*/ 0 w 357639"/>
                <a:gd name="connsiteY7" fmla="*/ 2982 h 725768"/>
                <a:gd name="connsiteX0" fmla="*/ 0 w 357639"/>
                <a:gd name="connsiteY0" fmla="*/ 2982 h 725768"/>
                <a:gd name="connsiteX1" fmla="*/ 204137 w 357639"/>
                <a:gd name="connsiteY1" fmla="*/ 0 h 725768"/>
                <a:gd name="connsiteX2" fmla="*/ 266853 w 357639"/>
                <a:gd name="connsiteY2" fmla="*/ 591541 h 725768"/>
                <a:gd name="connsiteX3" fmla="*/ 357639 w 357639"/>
                <a:gd name="connsiteY3" fmla="*/ 607662 h 725768"/>
                <a:gd name="connsiteX4" fmla="*/ 194306 w 357639"/>
                <a:gd name="connsiteY4" fmla="*/ 725768 h 725768"/>
                <a:gd name="connsiteX5" fmla="*/ 24763 w 357639"/>
                <a:gd name="connsiteY5" fmla="*/ 571917 h 725768"/>
                <a:gd name="connsiteX6" fmla="*/ 99971 w 357639"/>
                <a:gd name="connsiteY6" fmla="*/ 569938 h 725768"/>
                <a:gd name="connsiteX7" fmla="*/ 0 w 357639"/>
                <a:gd name="connsiteY7" fmla="*/ 2982 h 725768"/>
                <a:gd name="connsiteX0" fmla="*/ 0 w 353136"/>
                <a:gd name="connsiteY0" fmla="*/ 2982 h 725768"/>
                <a:gd name="connsiteX1" fmla="*/ 204137 w 353136"/>
                <a:gd name="connsiteY1" fmla="*/ 0 h 725768"/>
                <a:gd name="connsiteX2" fmla="*/ 266853 w 353136"/>
                <a:gd name="connsiteY2" fmla="*/ 591541 h 725768"/>
                <a:gd name="connsiteX3" fmla="*/ 353136 w 353136"/>
                <a:gd name="connsiteY3" fmla="*/ 606330 h 725768"/>
                <a:gd name="connsiteX4" fmla="*/ 194306 w 353136"/>
                <a:gd name="connsiteY4" fmla="*/ 725768 h 725768"/>
                <a:gd name="connsiteX5" fmla="*/ 24763 w 353136"/>
                <a:gd name="connsiteY5" fmla="*/ 571917 h 725768"/>
                <a:gd name="connsiteX6" fmla="*/ 99971 w 353136"/>
                <a:gd name="connsiteY6" fmla="*/ 569938 h 725768"/>
                <a:gd name="connsiteX7" fmla="*/ 0 w 353136"/>
                <a:gd name="connsiteY7" fmla="*/ 2982 h 725768"/>
                <a:gd name="connsiteX0" fmla="*/ 0 w 353136"/>
                <a:gd name="connsiteY0" fmla="*/ 2982 h 737458"/>
                <a:gd name="connsiteX1" fmla="*/ 204137 w 353136"/>
                <a:gd name="connsiteY1" fmla="*/ 0 h 737458"/>
                <a:gd name="connsiteX2" fmla="*/ 266853 w 353136"/>
                <a:gd name="connsiteY2" fmla="*/ 591541 h 737458"/>
                <a:gd name="connsiteX3" fmla="*/ 353136 w 353136"/>
                <a:gd name="connsiteY3" fmla="*/ 606330 h 737458"/>
                <a:gd name="connsiteX4" fmla="*/ 166471 w 353136"/>
                <a:gd name="connsiteY4" fmla="*/ 737458 h 737458"/>
                <a:gd name="connsiteX5" fmla="*/ 24763 w 353136"/>
                <a:gd name="connsiteY5" fmla="*/ 571917 h 737458"/>
                <a:gd name="connsiteX6" fmla="*/ 99971 w 353136"/>
                <a:gd name="connsiteY6" fmla="*/ 569938 h 737458"/>
                <a:gd name="connsiteX7" fmla="*/ 0 w 353136"/>
                <a:gd name="connsiteY7" fmla="*/ 2982 h 737458"/>
                <a:gd name="connsiteX0" fmla="*/ 0 w 353136"/>
                <a:gd name="connsiteY0" fmla="*/ 2982 h 735631"/>
                <a:gd name="connsiteX1" fmla="*/ 204137 w 353136"/>
                <a:gd name="connsiteY1" fmla="*/ 0 h 735631"/>
                <a:gd name="connsiteX2" fmla="*/ 266853 w 353136"/>
                <a:gd name="connsiteY2" fmla="*/ 591541 h 735631"/>
                <a:gd name="connsiteX3" fmla="*/ 353136 w 353136"/>
                <a:gd name="connsiteY3" fmla="*/ 606330 h 735631"/>
                <a:gd name="connsiteX4" fmla="*/ 170819 w 353136"/>
                <a:gd name="connsiteY4" fmla="*/ 735631 h 735631"/>
                <a:gd name="connsiteX5" fmla="*/ 24763 w 353136"/>
                <a:gd name="connsiteY5" fmla="*/ 571917 h 735631"/>
                <a:gd name="connsiteX6" fmla="*/ 99971 w 353136"/>
                <a:gd name="connsiteY6" fmla="*/ 569938 h 735631"/>
                <a:gd name="connsiteX7" fmla="*/ 0 w 353136"/>
                <a:gd name="connsiteY7" fmla="*/ 2982 h 735631"/>
                <a:gd name="connsiteX0" fmla="*/ 0 w 353136"/>
                <a:gd name="connsiteY0" fmla="*/ 2982 h 735631"/>
                <a:gd name="connsiteX1" fmla="*/ 204137 w 353136"/>
                <a:gd name="connsiteY1" fmla="*/ 0 h 735631"/>
                <a:gd name="connsiteX2" fmla="*/ 266853 w 353136"/>
                <a:gd name="connsiteY2" fmla="*/ 591541 h 735631"/>
                <a:gd name="connsiteX3" fmla="*/ 353136 w 353136"/>
                <a:gd name="connsiteY3" fmla="*/ 606330 h 735631"/>
                <a:gd name="connsiteX4" fmla="*/ 170819 w 353136"/>
                <a:gd name="connsiteY4" fmla="*/ 735631 h 735631"/>
                <a:gd name="connsiteX5" fmla="*/ 24763 w 353136"/>
                <a:gd name="connsiteY5" fmla="*/ 571917 h 735631"/>
                <a:gd name="connsiteX6" fmla="*/ 94224 w 353136"/>
                <a:gd name="connsiteY6" fmla="*/ 573426 h 735631"/>
                <a:gd name="connsiteX7" fmla="*/ 0 w 353136"/>
                <a:gd name="connsiteY7" fmla="*/ 2982 h 735631"/>
                <a:gd name="connsiteX0" fmla="*/ 0 w 353136"/>
                <a:gd name="connsiteY0" fmla="*/ 2982 h 735631"/>
                <a:gd name="connsiteX1" fmla="*/ 204137 w 353136"/>
                <a:gd name="connsiteY1" fmla="*/ 0 h 735631"/>
                <a:gd name="connsiteX2" fmla="*/ 266853 w 353136"/>
                <a:gd name="connsiteY2" fmla="*/ 591541 h 735631"/>
                <a:gd name="connsiteX3" fmla="*/ 353136 w 353136"/>
                <a:gd name="connsiteY3" fmla="*/ 606330 h 735631"/>
                <a:gd name="connsiteX4" fmla="*/ 170819 w 353136"/>
                <a:gd name="connsiteY4" fmla="*/ 735631 h 735631"/>
                <a:gd name="connsiteX5" fmla="*/ 21811 w 353136"/>
                <a:gd name="connsiteY5" fmla="*/ 572082 h 735631"/>
                <a:gd name="connsiteX6" fmla="*/ 94224 w 353136"/>
                <a:gd name="connsiteY6" fmla="*/ 573426 h 735631"/>
                <a:gd name="connsiteX7" fmla="*/ 0 w 353136"/>
                <a:gd name="connsiteY7" fmla="*/ 2982 h 735631"/>
                <a:gd name="connsiteX0" fmla="*/ 0 w 353136"/>
                <a:gd name="connsiteY0" fmla="*/ 2982 h 735631"/>
                <a:gd name="connsiteX1" fmla="*/ 204137 w 353136"/>
                <a:gd name="connsiteY1" fmla="*/ 0 h 735631"/>
                <a:gd name="connsiteX2" fmla="*/ 266853 w 353136"/>
                <a:gd name="connsiteY2" fmla="*/ 591541 h 735631"/>
                <a:gd name="connsiteX3" fmla="*/ 353136 w 353136"/>
                <a:gd name="connsiteY3" fmla="*/ 606330 h 735631"/>
                <a:gd name="connsiteX4" fmla="*/ 170819 w 353136"/>
                <a:gd name="connsiteY4" fmla="*/ 735631 h 735631"/>
                <a:gd name="connsiteX5" fmla="*/ 21811 w 353136"/>
                <a:gd name="connsiteY5" fmla="*/ 572082 h 735631"/>
                <a:gd name="connsiteX6" fmla="*/ 94224 w 353136"/>
                <a:gd name="connsiteY6" fmla="*/ 573426 h 735631"/>
                <a:gd name="connsiteX7" fmla="*/ 0 w 353136"/>
                <a:gd name="connsiteY7" fmla="*/ 2982 h 735631"/>
                <a:gd name="connsiteX0" fmla="*/ 29959 w 331325"/>
                <a:gd name="connsiteY0" fmla="*/ 0 h 735702"/>
                <a:gd name="connsiteX1" fmla="*/ 182326 w 331325"/>
                <a:gd name="connsiteY1" fmla="*/ 71 h 735702"/>
                <a:gd name="connsiteX2" fmla="*/ 245042 w 331325"/>
                <a:gd name="connsiteY2" fmla="*/ 591612 h 735702"/>
                <a:gd name="connsiteX3" fmla="*/ 331325 w 331325"/>
                <a:gd name="connsiteY3" fmla="*/ 606401 h 735702"/>
                <a:gd name="connsiteX4" fmla="*/ 149008 w 331325"/>
                <a:gd name="connsiteY4" fmla="*/ 735702 h 735702"/>
                <a:gd name="connsiteX5" fmla="*/ 0 w 331325"/>
                <a:gd name="connsiteY5" fmla="*/ 572153 h 735702"/>
                <a:gd name="connsiteX6" fmla="*/ 72413 w 331325"/>
                <a:gd name="connsiteY6" fmla="*/ 573497 h 735702"/>
                <a:gd name="connsiteX7" fmla="*/ 29959 w 331325"/>
                <a:gd name="connsiteY7" fmla="*/ 0 h 735702"/>
                <a:gd name="connsiteX0" fmla="*/ 29959 w 331325"/>
                <a:gd name="connsiteY0" fmla="*/ 0 h 735702"/>
                <a:gd name="connsiteX1" fmla="*/ 182326 w 331325"/>
                <a:gd name="connsiteY1" fmla="*/ 71 h 735702"/>
                <a:gd name="connsiteX2" fmla="*/ 245042 w 331325"/>
                <a:gd name="connsiteY2" fmla="*/ 591612 h 735702"/>
                <a:gd name="connsiteX3" fmla="*/ 331325 w 331325"/>
                <a:gd name="connsiteY3" fmla="*/ 606401 h 735702"/>
                <a:gd name="connsiteX4" fmla="*/ 149008 w 331325"/>
                <a:gd name="connsiteY4" fmla="*/ 735702 h 735702"/>
                <a:gd name="connsiteX5" fmla="*/ 0 w 331325"/>
                <a:gd name="connsiteY5" fmla="*/ 572153 h 735702"/>
                <a:gd name="connsiteX6" fmla="*/ 72413 w 331325"/>
                <a:gd name="connsiteY6" fmla="*/ 573497 h 735702"/>
                <a:gd name="connsiteX7" fmla="*/ 29959 w 331325"/>
                <a:gd name="connsiteY7" fmla="*/ 0 h 735702"/>
                <a:gd name="connsiteX0" fmla="*/ 29959 w 331325"/>
                <a:gd name="connsiteY0" fmla="*/ 0 h 735702"/>
                <a:gd name="connsiteX1" fmla="*/ 209742 w 331325"/>
                <a:gd name="connsiteY1" fmla="*/ 4105 h 735702"/>
                <a:gd name="connsiteX2" fmla="*/ 245042 w 331325"/>
                <a:gd name="connsiteY2" fmla="*/ 591612 h 735702"/>
                <a:gd name="connsiteX3" fmla="*/ 331325 w 331325"/>
                <a:gd name="connsiteY3" fmla="*/ 606401 h 735702"/>
                <a:gd name="connsiteX4" fmla="*/ 149008 w 331325"/>
                <a:gd name="connsiteY4" fmla="*/ 735702 h 735702"/>
                <a:gd name="connsiteX5" fmla="*/ 0 w 331325"/>
                <a:gd name="connsiteY5" fmla="*/ 572153 h 735702"/>
                <a:gd name="connsiteX6" fmla="*/ 72413 w 331325"/>
                <a:gd name="connsiteY6" fmla="*/ 573497 h 735702"/>
                <a:gd name="connsiteX7" fmla="*/ 29959 w 331325"/>
                <a:gd name="connsiteY7" fmla="*/ 0 h 735702"/>
                <a:gd name="connsiteX0" fmla="*/ 29959 w 331325"/>
                <a:gd name="connsiteY0" fmla="*/ 0 h 735702"/>
                <a:gd name="connsiteX1" fmla="*/ 221491 w 331325"/>
                <a:gd name="connsiteY1" fmla="*/ 5832 h 735702"/>
                <a:gd name="connsiteX2" fmla="*/ 245042 w 331325"/>
                <a:gd name="connsiteY2" fmla="*/ 591612 h 735702"/>
                <a:gd name="connsiteX3" fmla="*/ 331325 w 331325"/>
                <a:gd name="connsiteY3" fmla="*/ 606401 h 735702"/>
                <a:gd name="connsiteX4" fmla="*/ 149008 w 331325"/>
                <a:gd name="connsiteY4" fmla="*/ 735702 h 735702"/>
                <a:gd name="connsiteX5" fmla="*/ 0 w 331325"/>
                <a:gd name="connsiteY5" fmla="*/ 572153 h 735702"/>
                <a:gd name="connsiteX6" fmla="*/ 72413 w 331325"/>
                <a:gd name="connsiteY6" fmla="*/ 573497 h 735702"/>
                <a:gd name="connsiteX7" fmla="*/ 29959 w 331325"/>
                <a:gd name="connsiteY7" fmla="*/ 0 h 735702"/>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25713 w 316959"/>
                <a:gd name="connsiteY0" fmla="*/ 0 h 732214"/>
                <a:gd name="connsiteX1" fmla="*/ 207125 w 316959"/>
                <a:gd name="connsiteY1" fmla="*/ 2344 h 732214"/>
                <a:gd name="connsiteX2" fmla="*/ 230676 w 316959"/>
                <a:gd name="connsiteY2" fmla="*/ 588124 h 732214"/>
                <a:gd name="connsiteX3" fmla="*/ 316959 w 316959"/>
                <a:gd name="connsiteY3" fmla="*/ 602913 h 732214"/>
                <a:gd name="connsiteX4" fmla="*/ 134642 w 316959"/>
                <a:gd name="connsiteY4" fmla="*/ 732214 h 732214"/>
                <a:gd name="connsiteX5" fmla="*/ 0 w 316959"/>
                <a:gd name="connsiteY5" fmla="*/ 574780 h 732214"/>
                <a:gd name="connsiteX6" fmla="*/ 58047 w 316959"/>
                <a:gd name="connsiteY6" fmla="*/ 570009 h 732214"/>
                <a:gd name="connsiteX7" fmla="*/ 25713 w 316959"/>
                <a:gd name="connsiteY7" fmla="*/ 0 h 732214"/>
                <a:gd name="connsiteX0" fmla="*/ 25713 w 290868"/>
                <a:gd name="connsiteY0" fmla="*/ 0 h 732214"/>
                <a:gd name="connsiteX1" fmla="*/ 207125 w 290868"/>
                <a:gd name="connsiteY1" fmla="*/ 2344 h 732214"/>
                <a:gd name="connsiteX2" fmla="*/ 230676 w 290868"/>
                <a:gd name="connsiteY2" fmla="*/ 588124 h 732214"/>
                <a:gd name="connsiteX3" fmla="*/ 290868 w 290868"/>
                <a:gd name="connsiteY3" fmla="*/ 613076 h 732214"/>
                <a:gd name="connsiteX4" fmla="*/ 134642 w 290868"/>
                <a:gd name="connsiteY4" fmla="*/ 732214 h 732214"/>
                <a:gd name="connsiteX5" fmla="*/ 0 w 290868"/>
                <a:gd name="connsiteY5" fmla="*/ 574780 h 732214"/>
                <a:gd name="connsiteX6" fmla="*/ 58047 w 290868"/>
                <a:gd name="connsiteY6" fmla="*/ 570009 h 732214"/>
                <a:gd name="connsiteX7" fmla="*/ 25713 w 290868"/>
                <a:gd name="connsiteY7" fmla="*/ 0 h 732214"/>
                <a:gd name="connsiteX0" fmla="*/ 25713 w 290868"/>
                <a:gd name="connsiteY0" fmla="*/ 0 h 732214"/>
                <a:gd name="connsiteX1" fmla="*/ 207125 w 290868"/>
                <a:gd name="connsiteY1" fmla="*/ 2344 h 732214"/>
                <a:gd name="connsiteX2" fmla="*/ 230676 w 290868"/>
                <a:gd name="connsiteY2" fmla="*/ 588124 h 732214"/>
                <a:gd name="connsiteX3" fmla="*/ 290868 w 290868"/>
                <a:gd name="connsiteY3" fmla="*/ 613076 h 732214"/>
                <a:gd name="connsiteX4" fmla="*/ 134642 w 290868"/>
                <a:gd name="connsiteY4" fmla="*/ 732214 h 732214"/>
                <a:gd name="connsiteX5" fmla="*/ 0 w 290868"/>
                <a:gd name="connsiteY5" fmla="*/ 574780 h 732214"/>
                <a:gd name="connsiteX6" fmla="*/ 58712 w 290868"/>
                <a:gd name="connsiteY6" fmla="*/ 580107 h 732214"/>
                <a:gd name="connsiteX7" fmla="*/ 25713 w 290868"/>
                <a:gd name="connsiteY7" fmla="*/ 0 h 732214"/>
                <a:gd name="connsiteX0" fmla="*/ 25713 w 290868"/>
                <a:gd name="connsiteY0" fmla="*/ 0 h 732214"/>
                <a:gd name="connsiteX1" fmla="*/ 207125 w 290868"/>
                <a:gd name="connsiteY1" fmla="*/ 2344 h 732214"/>
                <a:gd name="connsiteX2" fmla="*/ 227763 w 290868"/>
                <a:gd name="connsiteY2" fmla="*/ 605698 h 732214"/>
                <a:gd name="connsiteX3" fmla="*/ 290868 w 290868"/>
                <a:gd name="connsiteY3" fmla="*/ 613076 h 732214"/>
                <a:gd name="connsiteX4" fmla="*/ 134642 w 290868"/>
                <a:gd name="connsiteY4" fmla="*/ 732214 h 732214"/>
                <a:gd name="connsiteX5" fmla="*/ 0 w 290868"/>
                <a:gd name="connsiteY5" fmla="*/ 574780 h 732214"/>
                <a:gd name="connsiteX6" fmla="*/ 58712 w 290868"/>
                <a:gd name="connsiteY6" fmla="*/ 580107 h 732214"/>
                <a:gd name="connsiteX7" fmla="*/ 25713 w 290868"/>
                <a:gd name="connsiteY7" fmla="*/ 0 h 732214"/>
                <a:gd name="connsiteX0" fmla="*/ 27021 w 292176"/>
                <a:gd name="connsiteY0" fmla="*/ 0 h 732214"/>
                <a:gd name="connsiteX1" fmla="*/ 208433 w 292176"/>
                <a:gd name="connsiteY1" fmla="*/ 2344 h 732214"/>
                <a:gd name="connsiteX2" fmla="*/ 229071 w 292176"/>
                <a:gd name="connsiteY2" fmla="*/ 605698 h 732214"/>
                <a:gd name="connsiteX3" fmla="*/ 292176 w 292176"/>
                <a:gd name="connsiteY3" fmla="*/ 613076 h 732214"/>
                <a:gd name="connsiteX4" fmla="*/ 135950 w 292176"/>
                <a:gd name="connsiteY4" fmla="*/ 732214 h 732214"/>
                <a:gd name="connsiteX5" fmla="*/ 0 w 292176"/>
                <a:gd name="connsiteY5" fmla="*/ 572588 h 732214"/>
                <a:gd name="connsiteX6" fmla="*/ 60020 w 292176"/>
                <a:gd name="connsiteY6" fmla="*/ 580107 h 732214"/>
                <a:gd name="connsiteX7" fmla="*/ 27021 w 292176"/>
                <a:gd name="connsiteY7" fmla="*/ 0 h 732214"/>
                <a:gd name="connsiteX0" fmla="*/ 27021 w 292176"/>
                <a:gd name="connsiteY0" fmla="*/ 0 h 741880"/>
                <a:gd name="connsiteX1" fmla="*/ 208433 w 292176"/>
                <a:gd name="connsiteY1" fmla="*/ 2344 h 741880"/>
                <a:gd name="connsiteX2" fmla="*/ 229071 w 292176"/>
                <a:gd name="connsiteY2" fmla="*/ 605698 h 741880"/>
                <a:gd name="connsiteX3" fmla="*/ 292176 w 292176"/>
                <a:gd name="connsiteY3" fmla="*/ 613076 h 741880"/>
                <a:gd name="connsiteX4" fmla="*/ 133679 w 292176"/>
                <a:gd name="connsiteY4" fmla="*/ 741880 h 741880"/>
                <a:gd name="connsiteX5" fmla="*/ 0 w 292176"/>
                <a:gd name="connsiteY5" fmla="*/ 572588 h 741880"/>
                <a:gd name="connsiteX6" fmla="*/ 60020 w 292176"/>
                <a:gd name="connsiteY6" fmla="*/ 580107 h 741880"/>
                <a:gd name="connsiteX7" fmla="*/ 27021 w 292176"/>
                <a:gd name="connsiteY7" fmla="*/ 0 h 741880"/>
                <a:gd name="connsiteX0" fmla="*/ 27021 w 292176"/>
                <a:gd name="connsiteY0" fmla="*/ 0 h 741880"/>
                <a:gd name="connsiteX1" fmla="*/ 208433 w 292176"/>
                <a:gd name="connsiteY1" fmla="*/ 2344 h 741880"/>
                <a:gd name="connsiteX2" fmla="*/ 229713 w 292176"/>
                <a:gd name="connsiteY2" fmla="*/ 597792 h 741880"/>
                <a:gd name="connsiteX3" fmla="*/ 292176 w 292176"/>
                <a:gd name="connsiteY3" fmla="*/ 613076 h 741880"/>
                <a:gd name="connsiteX4" fmla="*/ 133679 w 292176"/>
                <a:gd name="connsiteY4" fmla="*/ 741880 h 741880"/>
                <a:gd name="connsiteX5" fmla="*/ 0 w 292176"/>
                <a:gd name="connsiteY5" fmla="*/ 572588 h 741880"/>
                <a:gd name="connsiteX6" fmla="*/ 60020 w 292176"/>
                <a:gd name="connsiteY6" fmla="*/ 580107 h 741880"/>
                <a:gd name="connsiteX7" fmla="*/ 27021 w 292176"/>
                <a:gd name="connsiteY7" fmla="*/ 0 h 741880"/>
                <a:gd name="connsiteX0" fmla="*/ 27021 w 292176"/>
                <a:gd name="connsiteY0" fmla="*/ 0 h 741880"/>
                <a:gd name="connsiteX1" fmla="*/ 219860 w 292176"/>
                <a:gd name="connsiteY1" fmla="*/ 8025 h 741880"/>
                <a:gd name="connsiteX2" fmla="*/ 229713 w 292176"/>
                <a:gd name="connsiteY2" fmla="*/ 597792 h 741880"/>
                <a:gd name="connsiteX3" fmla="*/ 292176 w 292176"/>
                <a:gd name="connsiteY3" fmla="*/ 613076 h 741880"/>
                <a:gd name="connsiteX4" fmla="*/ 133679 w 292176"/>
                <a:gd name="connsiteY4" fmla="*/ 741880 h 741880"/>
                <a:gd name="connsiteX5" fmla="*/ 0 w 292176"/>
                <a:gd name="connsiteY5" fmla="*/ 572588 h 741880"/>
                <a:gd name="connsiteX6" fmla="*/ 60020 w 292176"/>
                <a:gd name="connsiteY6" fmla="*/ 580107 h 741880"/>
                <a:gd name="connsiteX7" fmla="*/ 27021 w 292176"/>
                <a:gd name="connsiteY7" fmla="*/ 0 h 741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2176" h="741880">
                  <a:moveTo>
                    <a:pt x="27021" y="0"/>
                  </a:moveTo>
                  <a:lnTo>
                    <a:pt x="219860" y="8025"/>
                  </a:lnTo>
                  <a:cubicBezTo>
                    <a:pt x="280882" y="249963"/>
                    <a:pt x="251380" y="518322"/>
                    <a:pt x="229713" y="597792"/>
                  </a:cubicBezTo>
                  <a:lnTo>
                    <a:pt x="292176" y="613076"/>
                  </a:lnTo>
                  <a:lnTo>
                    <a:pt x="133679" y="741880"/>
                  </a:lnTo>
                  <a:lnTo>
                    <a:pt x="0" y="572588"/>
                  </a:lnTo>
                  <a:lnTo>
                    <a:pt x="60020" y="580107"/>
                  </a:lnTo>
                  <a:cubicBezTo>
                    <a:pt x="75298" y="517510"/>
                    <a:pt x="120241" y="243172"/>
                    <a:pt x="27021" y="0"/>
                  </a:cubicBezTo>
                  <a:close/>
                </a:path>
              </a:pathLst>
            </a:custGeom>
            <a:gradFill>
              <a:gsLst>
                <a:gs pos="19000">
                  <a:srgbClr val="FFFFFF">
                    <a:alpha val="56000"/>
                  </a:srgbClr>
                </a:gs>
                <a:gs pos="35000">
                  <a:srgbClr val="FFFFFF"/>
                </a:gs>
                <a:gs pos="0">
                  <a:srgbClr val="FFFFFF">
                    <a:alpha val="0"/>
                  </a:srgbClr>
                </a:gs>
              </a:gsLst>
              <a:lin ang="5400000" scaled="0"/>
            </a:gradFill>
            <a:ln w="25400" cap="flat" cmpd="sng" algn="ctr">
              <a:noFill/>
              <a:prstDash val="solid"/>
            </a:ln>
            <a:effectLst/>
          </p:spPr>
          <p:txBody>
            <a:bodyPr rtlCol="0" anchor="ctr"/>
            <a:lstStyle/>
            <a:p>
              <a:pPr algn="ctr" defTabSz="685800">
                <a:defRPr/>
              </a:pPr>
              <a:endParaRPr lang="en-US" sz="1350" kern="0" dirty="0">
                <a:solidFill>
                  <a:srgbClr val="000000"/>
                </a:solidFill>
                <a:latin typeface="Open Sans"/>
                <a:cs typeface="Open Sans"/>
              </a:endParaRPr>
            </a:p>
          </p:txBody>
        </p:sp>
        <p:sp>
          <p:nvSpPr>
            <p:cNvPr id="69" name="Curved Down Arrow 32"/>
            <p:cNvSpPr/>
            <p:nvPr>
              <p:custDataLst>
                <p:tags r:id="rId14"/>
              </p:custDataLst>
            </p:nvPr>
          </p:nvSpPr>
          <p:spPr>
            <a:xfrm rot="19274276" flipH="1">
              <a:off x="3643332" y="2559290"/>
              <a:ext cx="332993" cy="628284"/>
            </a:xfrm>
            <a:custGeom>
              <a:avLst/>
              <a:gdLst>
                <a:gd name="connsiteX0" fmla="*/ 0 w 389067"/>
                <a:gd name="connsiteY0" fmla="*/ 14695 h 736470"/>
                <a:gd name="connsiteX1" fmla="*/ 199235 w 389067"/>
                <a:gd name="connsiteY1" fmla="*/ 0 h 736470"/>
                <a:gd name="connsiteX2" fmla="*/ 305209 w 389067"/>
                <a:gd name="connsiteY2" fmla="*/ 580640 h 736470"/>
                <a:gd name="connsiteX3" fmla="*/ 389067 w 389067"/>
                <a:gd name="connsiteY3" fmla="*/ 576035 h 736470"/>
                <a:gd name="connsiteX4" fmla="*/ 214483 w 389067"/>
                <a:gd name="connsiteY4" fmla="*/ 736470 h 736470"/>
                <a:gd name="connsiteX5" fmla="*/ 31683 w 389067"/>
                <a:gd name="connsiteY5" fmla="*/ 593917 h 736470"/>
                <a:gd name="connsiteX6" fmla="*/ 120148 w 389067"/>
                <a:gd name="connsiteY6" fmla="*/ 580640 h 736470"/>
                <a:gd name="connsiteX7" fmla="*/ 0 w 389067"/>
                <a:gd name="connsiteY7" fmla="*/ 14695 h 736470"/>
                <a:gd name="connsiteX0" fmla="*/ 0 w 389067"/>
                <a:gd name="connsiteY0" fmla="*/ 19958 h 741733"/>
                <a:gd name="connsiteX1" fmla="*/ 207380 w 389067"/>
                <a:gd name="connsiteY1" fmla="*/ 0 h 741733"/>
                <a:gd name="connsiteX2" fmla="*/ 305209 w 389067"/>
                <a:gd name="connsiteY2" fmla="*/ 585903 h 741733"/>
                <a:gd name="connsiteX3" fmla="*/ 389067 w 389067"/>
                <a:gd name="connsiteY3" fmla="*/ 581298 h 741733"/>
                <a:gd name="connsiteX4" fmla="*/ 214483 w 389067"/>
                <a:gd name="connsiteY4" fmla="*/ 741733 h 741733"/>
                <a:gd name="connsiteX5" fmla="*/ 31683 w 389067"/>
                <a:gd name="connsiteY5" fmla="*/ 599180 h 741733"/>
                <a:gd name="connsiteX6" fmla="*/ 120148 w 389067"/>
                <a:gd name="connsiteY6" fmla="*/ 585903 h 741733"/>
                <a:gd name="connsiteX7" fmla="*/ 0 w 389067"/>
                <a:gd name="connsiteY7" fmla="*/ 19958 h 741733"/>
                <a:gd name="connsiteX0" fmla="*/ 0 w 368890"/>
                <a:gd name="connsiteY0" fmla="*/ 18947 h 741733"/>
                <a:gd name="connsiteX1" fmla="*/ 187203 w 368890"/>
                <a:gd name="connsiteY1" fmla="*/ 0 h 741733"/>
                <a:gd name="connsiteX2" fmla="*/ 285032 w 368890"/>
                <a:gd name="connsiteY2" fmla="*/ 585903 h 741733"/>
                <a:gd name="connsiteX3" fmla="*/ 368890 w 368890"/>
                <a:gd name="connsiteY3" fmla="*/ 581298 h 741733"/>
                <a:gd name="connsiteX4" fmla="*/ 194306 w 368890"/>
                <a:gd name="connsiteY4" fmla="*/ 741733 h 741733"/>
                <a:gd name="connsiteX5" fmla="*/ 11506 w 368890"/>
                <a:gd name="connsiteY5" fmla="*/ 599180 h 741733"/>
                <a:gd name="connsiteX6" fmla="*/ 99971 w 368890"/>
                <a:gd name="connsiteY6" fmla="*/ 585903 h 741733"/>
                <a:gd name="connsiteX7" fmla="*/ 0 w 368890"/>
                <a:gd name="connsiteY7" fmla="*/ 18947 h 741733"/>
                <a:gd name="connsiteX0" fmla="*/ 0 w 368890"/>
                <a:gd name="connsiteY0" fmla="*/ 4317 h 727103"/>
                <a:gd name="connsiteX1" fmla="*/ 190264 w 368890"/>
                <a:gd name="connsiteY1" fmla="*/ 0 h 727103"/>
                <a:gd name="connsiteX2" fmla="*/ 285032 w 368890"/>
                <a:gd name="connsiteY2" fmla="*/ 571273 h 727103"/>
                <a:gd name="connsiteX3" fmla="*/ 368890 w 368890"/>
                <a:gd name="connsiteY3" fmla="*/ 566668 h 727103"/>
                <a:gd name="connsiteX4" fmla="*/ 194306 w 368890"/>
                <a:gd name="connsiteY4" fmla="*/ 727103 h 727103"/>
                <a:gd name="connsiteX5" fmla="*/ 11506 w 368890"/>
                <a:gd name="connsiteY5" fmla="*/ 584550 h 727103"/>
                <a:gd name="connsiteX6" fmla="*/ 99971 w 368890"/>
                <a:gd name="connsiteY6" fmla="*/ 571273 h 727103"/>
                <a:gd name="connsiteX7" fmla="*/ 0 w 368890"/>
                <a:gd name="connsiteY7" fmla="*/ 4317 h 727103"/>
                <a:gd name="connsiteX0" fmla="*/ 0 w 368890"/>
                <a:gd name="connsiteY0" fmla="*/ 4317 h 727103"/>
                <a:gd name="connsiteX1" fmla="*/ 190264 w 368890"/>
                <a:gd name="connsiteY1" fmla="*/ 0 h 727103"/>
                <a:gd name="connsiteX2" fmla="*/ 285032 w 368890"/>
                <a:gd name="connsiteY2" fmla="*/ 571273 h 727103"/>
                <a:gd name="connsiteX3" fmla="*/ 368890 w 368890"/>
                <a:gd name="connsiteY3" fmla="*/ 566668 h 727103"/>
                <a:gd name="connsiteX4" fmla="*/ 194306 w 368890"/>
                <a:gd name="connsiteY4" fmla="*/ 727103 h 727103"/>
                <a:gd name="connsiteX5" fmla="*/ 11506 w 368890"/>
                <a:gd name="connsiteY5" fmla="*/ 584550 h 727103"/>
                <a:gd name="connsiteX6" fmla="*/ 99971 w 368890"/>
                <a:gd name="connsiteY6" fmla="*/ 571273 h 727103"/>
                <a:gd name="connsiteX7" fmla="*/ 0 w 368890"/>
                <a:gd name="connsiteY7" fmla="*/ 4317 h 727103"/>
                <a:gd name="connsiteX0" fmla="*/ 0 w 368890"/>
                <a:gd name="connsiteY0" fmla="*/ 4317 h 727103"/>
                <a:gd name="connsiteX1" fmla="*/ 190264 w 368890"/>
                <a:gd name="connsiteY1" fmla="*/ 0 h 727103"/>
                <a:gd name="connsiteX2" fmla="*/ 285032 w 368890"/>
                <a:gd name="connsiteY2" fmla="*/ 571273 h 727103"/>
                <a:gd name="connsiteX3" fmla="*/ 368890 w 368890"/>
                <a:gd name="connsiteY3" fmla="*/ 566668 h 727103"/>
                <a:gd name="connsiteX4" fmla="*/ 194306 w 368890"/>
                <a:gd name="connsiteY4" fmla="*/ 727103 h 727103"/>
                <a:gd name="connsiteX5" fmla="*/ 10684 w 368890"/>
                <a:gd name="connsiteY5" fmla="*/ 567704 h 727103"/>
                <a:gd name="connsiteX6" fmla="*/ 99971 w 368890"/>
                <a:gd name="connsiteY6" fmla="*/ 571273 h 727103"/>
                <a:gd name="connsiteX7" fmla="*/ 0 w 368890"/>
                <a:gd name="connsiteY7" fmla="*/ 4317 h 727103"/>
                <a:gd name="connsiteX0" fmla="*/ 0 w 363912"/>
                <a:gd name="connsiteY0" fmla="*/ 4317 h 727103"/>
                <a:gd name="connsiteX1" fmla="*/ 190264 w 363912"/>
                <a:gd name="connsiteY1" fmla="*/ 0 h 727103"/>
                <a:gd name="connsiteX2" fmla="*/ 285032 w 363912"/>
                <a:gd name="connsiteY2" fmla="*/ 571273 h 727103"/>
                <a:gd name="connsiteX3" fmla="*/ 363912 w 363912"/>
                <a:gd name="connsiteY3" fmla="*/ 585949 h 727103"/>
                <a:gd name="connsiteX4" fmla="*/ 194306 w 363912"/>
                <a:gd name="connsiteY4" fmla="*/ 727103 h 727103"/>
                <a:gd name="connsiteX5" fmla="*/ 10684 w 363912"/>
                <a:gd name="connsiteY5" fmla="*/ 567704 h 727103"/>
                <a:gd name="connsiteX6" fmla="*/ 99971 w 363912"/>
                <a:gd name="connsiteY6" fmla="*/ 571273 h 727103"/>
                <a:gd name="connsiteX7" fmla="*/ 0 w 363912"/>
                <a:gd name="connsiteY7" fmla="*/ 4317 h 727103"/>
                <a:gd name="connsiteX0" fmla="*/ 0 w 358113"/>
                <a:gd name="connsiteY0" fmla="*/ 4317 h 727103"/>
                <a:gd name="connsiteX1" fmla="*/ 190264 w 358113"/>
                <a:gd name="connsiteY1" fmla="*/ 0 h 727103"/>
                <a:gd name="connsiteX2" fmla="*/ 285032 w 358113"/>
                <a:gd name="connsiteY2" fmla="*/ 571273 h 727103"/>
                <a:gd name="connsiteX3" fmla="*/ 358113 w 358113"/>
                <a:gd name="connsiteY3" fmla="*/ 588385 h 727103"/>
                <a:gd name="connsiteX4" fmla="*/ 194306 w 358113"/>
                <a:gd name="connsiteY4" fmla="*/ 727103 h 727103"/>
                <a:gd name="connsiteX5" fmla="*/ 10684 w 358113"/>
                <a:gd name="connsiteY5" fmla="*/ 567704 h 727103"/>
                <a:gd name="connsiteX6" fmla="*/ 99971 w 358113"/>
                <a:gd name="connsiteY6" fmla="*/ 571273 h 727103"/>
                <a:gd name="connsiteX7" fmla="*/ 0 w 358113"/>
                <a:gd name="connsiteY7" fmla="*/ 4317 h 727103"/>
                <a:gd name="connsiteX0" fmla="*/ 0 w 358113"/>
                <a:gd name="connsiteY0" fmla="*/ 4317 h 727103"/>
                <a:gd name="connsiteX1" fmla="*/ 190264 w 358113"/>
                <a:gd name="connsiteY1" fmla="*/ 0 h 727103"/>
                <a:gd name="connsiteX2" fmla="*/ 273845 w 358113"/>
                <a:gd name="connsiteY2" fmla="*/ 584567 h 727103"/>
                <a:gd name="connsiteX3" fmla="*/ 358113 w 358113"/>
                <a:gd name="connsiteY3" fmla="*/ 588385 h 727103"/>
                <a:gd name="connsiteX4" fmla="*/ 194306 w 358113"/>
                <a:gd name="connsiteY4" fmla="*/ 727103 h 727103"/>
                <a:gd name="connsiteX5" fmla="*/ 10684 w 358113"/>
                <a:gd name="connsiteY5" fmla="*/ 567704 h 727103"/>
                <a:gd name="connsiteX6" fmla="*/ 99971 w 358113"/>
                <a:gd name="connsiteY6" fmla="*/ 571273 h 727103"/>
                <a:gd name="connsiteX7" fmla="*/ 0 w 358113"/>
                <a:gd name="connsiteY7" fmla="*/ 4317 h 727103"/>
                <a:gd name="connsiteX0" fmla="*/ 0 w 362869"/>
                <a:gd name="connsiteY0" fmla="*/ 4317 h 727103"/>
                <a:gd name="connsiteX1" fmla="*/ 190264 w 362869"/>
                <a:gd name="connsiteY1" fmla="*/ 0 h 727103"/>
                <a:gd name="connsiteX2" fmla="*/ 273845 w 362869"/>
                <a:gd name="connsiteY2" fmla="*/ 584567 h 727103"/>
                <a:gd name="connsiteX3" fmla="*/ 362869 w 362869"/>
                <a:gd name="connsiteY3" fmla="*/ 605011 h 727103"/>
                <a:gd name="connsiteX4" fmla="*/ 194306 w 362869"/>
                <a:gd name="connsiteY4" fmla="*/ 727103 h 727103"/>
                <a:gd name="connsiteX5" fmla="*/ 10684 w 362869"/>
                <a:gd name="connsiteY5" fmla="*/ 567704 h 727103"/>
                <a:gd name="connsiteX6" fmla="*/ 99971 w 362869"/>
                <a:gd name="connsiteY6" fmla="*/ 571273 h 727103"/>
                <a:gd name="connsiteX7" fmla="*/ 0 w 362869"/>
                <a:gd name="connsiteY7" fmla="*/ 4317 h 727103"/>
                <a:gd name="connsiteX0" fmla="*/ 0 w 362869"/>
                <a:gd name="connsiteY0" fmla="*/ 4317 h 727103"/>
                <a:gd name="connsiteX1" fmla="*/ 190264 w 362869"/>
                <a:gd name="connsiteY1" fmla="*/ 0 h 727103"/>
                <a:gd name="connsiteX2" fmla="*/ 273845 w 362869"/>
                <a:gd name="connsiteY2" fmla="*/ 584567 h 727103"/>
                <a:gd name="connsiteX3" fmla="*/ 362869 w 362869"/>
                <a:gd name="connsiteY3" fmla="*/ 605011 h 727103"/>
                <a:gd name="connsiteX4" fmla="*/ 194306 w 362869"/>
                <a:gd name="connsiteY4" fmla="*/ 727103 h 727103"/>
                <a:gd name="connsiteX5" fmla="*/ 22077 w 362869"/>
                <a:gd name="connsiteY5" fmla="*/ 558622 h 727103"/>
                <a:gd name="connsiteX6" fmla="*/ 99971 w 362869"/>
                <a:gd name="connsiteY6" fmla="*/ 571273 h 727103"/>
                <a:gd name="connsiteX7" fmla="*/ 0 w 362869"/>
                <a:gd name="connsiteY7" fmla="*/ 4317 h 727103"/>
                <a:gd name="connsiteX0" fmla="*/ 0 w 362869"/>
                <a:gd name="connsiteY0" fmla="*/ 4317 h 727103"/>
                <a:gd name="connsiteX1" fmla="*/ 190264 w 362869"/>
                <a:gd name="connsiteY1" fmla="*/ 0 h 727103"/>
                <a:gd name="connsiteX2" fmla="*/ 273845 w 362869"/>
                <a:gd name="connsiteY2" fmla="*/ 584567 h 727103"/>
                <a:gd name="connsiteX3" fmla="*/ 362869 w 362869"/>
                <a:gd name="connsiteY3" fmla="*/ 605011 h 727103"/>
                <a:gd name="connsiteX4" fmla="*/ 194306 w 362869"/>
                <a:gd name="connsiteY4" fmla="*/ 727103 h 727103"/>
                <a:gd name="connsiteX5" fmla="*/ 24763 w 362869"/>
                <a:gd name="connsiteY5" fmla="*/ 573252 h 727103"/>
                <a:gd name="connsiteX6" fmla="*/ 99971 w 362869"/>
                <a:gd name="connsiteY6" fmla="*/ 571273 h 727103"/>
                <a:gd name="connsiteX7" fmla="*/ 0 w 362869"/>
                <a:gd name="connsiteY7" fmla="*/ 4317 h 727103"/>
                <a:gd name="connsiteX0" fmla="*/ 0 w 359346"/>
                <a:gd name="connsiteY0" fmla="*/ 4317 h 727103"/>
                <a:gd name="connsiteX1" fmla="*/ 190264 w 359346"/>
                <a:gd name="connsiteY1" fmla="*/ 0 h 727103"/>
                <a:gd name="connsiteX2" fmla="*/ 273845 w 359346"/>
                <a:gd name="connsiteY2" fmla="*/ 584567 h 727103"/>
                <a:gd name="connsiteX3" fmla="*/ 359346 w 359346"/>
                <a:gd name="connsiteY3" fmla="*/ 613653 h 727103"/>
                <a:gd name="connsiteX4" fmla="*/ 194306 w 359346"/>
                <a:gd name="connsiteY4" fmla="*/ 727103 h 727103"/>
                <a:gd name="connsiteX5" fmla="*/ 24763 w 359346"/>
                <a:gd name="connsiteY5" fmla="*/ 573252 h 727103"/>
                <a:gd name="connsiteX6" fmla="*/ 99971 w 359346"/>
                <a:gd name="connsiteY6" fmla="*/ 571273 h 727103"/>
                <a:gd name="connsiteX7" fmla="*/ 0 w 359346"/>
                <a:gd name="connsiteY7" fmla="*/ 4317 h 727103"/>
                <a:gd name="connsiteX0" fmla="*/ 0 w 359346"/>
                <a:gd name="connsiteY0" fmla="*/ 2982 h 725768"/>
                <a:gd name="connsiteX1" fmla="*/ 204137 w 359346"/>
                <a:gd name="connsiteY1" fmla="*/ 0 h 725768"/>
                <a:gd name="connsiteX2" fmla="*/ 273845 w 359346"/>
                <a:gd name="connsiteY2" fmla="*/ 583232 h 725768"/>
                <a:gd name="connsiteX3" fmla="*/ 359346 w 359346"/>
                <a:gd name="connsiteY3" fmla="*/ 612318 h 725768"/>
                <a:gd name="connsiteX4" fmla="*/ 194306 w 359346"/>
                <a:gd name="connsiteY4" fmla="*/ 725768 h 725768"/>
                <a:gd name="connsiteX5" fmla="*/ 24763 w 359346"/>
                <a:gd name="connsiteY5" fmla="*/ 571917 h 725768"/>
                <a:gd name="connsiteX6" fmla="*/ 99971 w 359346"/>
                <a:gd name="connsiteY6" fmla="*/ 569938 h 725768"/>
                <a:gd name="connsiteX7" fmla="*/ 0 w 359346"/>
                <a:gd name="connsiteY7" fmla="*/ 2982 h 725768"/>
                <a:gd name="connsiteX0" fmla="*/ 0 w 357639"/>
                <a:gd name="connsiteY0" fmla="*/ 2982 h 725768"/>
                <a:gd name="connsiteX1" fmla="*/ 204137 w 357639"/>
                <a:gd name="connsiteY1" fmla="*/ 0 h 725768"/>
                <a:gd name="connsiteX2" fmla="*/ 273845 w 357639"/>
                <a:gd name="connsiteY2" fmla="*/ 583232 h 725768"/>
                <a:gd name="connsiteX3" fmla="*/ 357639 w 357639"/>
                <a:gd name="connsiteY3" fmla="*/ 607662 h 725768"/>
                <a:gd name="connsiteX4" fmla="*/ 194306 w 357639"/>
                <a:gd name="connsiteY4" fmla="*/ 725768 h 725768"/>
                <a:gd name="connsiteX5" fmla="*/ 24763 w 357639"/>
                <a:gd name="connsiteY5" fmla="*/ 571917 h 725768"/>
                <a:gd name="connsiteX6" fmla="*/ 99971 w 357639"/>
                <a:gd name="connsiteY6" fmla="*/ 569938 h 725768"/>
                <a:gd name="connsiteX7" fmla="*/ 0 w 357639"/>
                <a:gd name="connsiteY7" fmla="*/ 2982 h 725768"/>
                <a:gd name="connsiteX0" fmla="*/ 0 w 357639"/>
                <a:gd name="connsiteY0" fmla="*/ 2982 h 725768"/>
                <a:gd name="connsiteX1" fmla="*/ 204137 w 357639"/>
                <a:gd name="connsiteY1" fmla="*/ 0 h 725768"/>
                <a:gd name="connsiteX2" fmla="*/ 266853 w 357639"/>
                <a:gd name="connsiteY2" fmla="*/ 591541 h 725768"/>
                <a:gd name="connsiteX3" fmla="*/ 357639 w 357639"/>
                <a:gd name="connsiteY3" fmla="*/ 607662 h 725768"/>
                <a:gd name="connsiteX4" fmla="*/ 194306 w 357639"/>
                <a:gd name="connsiteY4" fmla="*/ 725768 h 725768"/>
                <a:gd name="connsiteX5" fmla="*/ 24763 w 357639"/>
                <a:gd name="connsiteY5" fmla="*/ 571917 h 725768"/>
                <a:gd name="connsiteX6" fmla="*/ 99971 w 357639"/>
                <a:gd name="connsiteY6" fmla="*/ 569938 h 725768"/>
                <a:gd name="connsiteX7" fmla="*/ 0 w 357639"/>
                <a:gd name="connsiteY7" fmla="*/ 2982 h 725768"/>
                <a:gd name="connsiteX0" fmla="*/ 0 w 353136"/>
                <a:gd name="connsiteY0" fmla="*/ 2982 h 725768"/>
                <a:gd name="connsiteX1" fmla="*/ 204137 w 353136"/>
                <a:gd name="connsiteY1" fmla="*/ 0 h 725768"/>
                <a:gd name="connsiteX2" fmla="*/ 266853 w 353136"/>
                <a:gd name="connsiteY2" fmla="*/ 591541 h 725768"/>
                <a:gd name="connsiteX3" fmla="*/ 353136 w 353136"/>
                <a:gd name="connsiteY3" fmla="*/ 606330 h 725768"/>
                <a:gd name="connsiteX4" fmla="*/ 194306 w 353136"/>
                <a:gd name="connsiteY4" fmla="*/ 725768 h 725768"/>
                <a:gd name="connsiteX5" fmla="*/ 24763 w 353136"/>
                <a:gd name="connsiteY5" fmla="*/ 571917 h 725768"/>
                <a:gd name="connsiteX6" fmla="*/ 99971 w 353136"/>
                <a:gd name="connsiteY6" fmla="*/ 569938 h 725768"/>
                <a:gd name="connsiteX7" fmla="*/ 0 w 353136"/>
                <a:gd name="connsiteY7" fmla="*/ 2982 h 725768"/>
                <a:gd name="connsiteX0" fmla="*/ 0 w 353136"/>
                <a:gd name="connsiteY0" fmla="*/ 2982 h 737458"/>
                <a:gd name="connsiteX1" fmla="*/ 204137 w 353136"/>
                <a:gd name="connsiteY1" fmla="*/ 0 h 737458"/>
                <a:gd name="connsiteX2" fmla="*/ 266853 w 353136"/>
                <a:gd name="connsiteY2" fmla="*/ 591541 h 737458"/>
                <a:gd name="connsiteX3" fmla="*/ 353136 w 353136"/>
                <a:gd name="connsiteY3" fmla="*/ 606330 h 737458"/>
                <a:gd name="connsiteX4" fmla="*/ 166471 w 353136"/>
                <a:gd name="connsiteY4" fmla="*/ 737458 h 737458"/>
                <a:gd name="connsiteX5" fmla="*/ 24763 w 353136"/>
                <a:gd name="connsiteY5" fmla="*/ 571917 h 737458"/>
                <a:gd name="connsiteX6" fmla="*/ 99971 w 353136"/>
                <a:gd name="connsiteY6" fmla="*/ 569938 h 737458"/>
                <a:gd name="connsiteX7" fmla="*/ 0 w 353136"/>
                <a:gd name="connsiteY7" fmla="*/ 2982 h 737458"/>
                <a:gd name="connsiteX0" fmla="*/ 0 w 353136"/>
                <a:gd name="connsiteY0" fmla="*/ 2982 h 735631"/>
                <a:gd name="connsiteX1" fmla="*/ 204137 w 353136"/>
                <a:gd name="connsiteY1" fmla="*/ 0 h 735631"/>
                <a:gd name="connsiteX2" fmla="*/ 266853 w 353136"/>
                <a:gd name="connsiteY2" fmla="*/ 591541 h 735631"/>
                <a:gd name="connsiteX3" fmla="*/ 353136 w 353136"/>
                <a:gd name="connsiteY3" fmla="*/ 606330 h 735631"/>
                <a:gd name="connsiteX4" fmla="*/ 170819 w 353136"/>
                <a:gd name="connsiteY4" fmla="*/ 735631 h 735631"/>
                <a:gd name="connsiteX5" fmla="*/ 24763 w 353136"/>
                <a:gd name="connsiteY5" fmla="*/ 571917 h 735631"/>
                <a:gd name="connsiteX6" fmla="*/ 99971 w 353136"/>
                <a:gd name="connsiteY6" fmla="*/ 569938 h 735631"/>
                <a:gd name="connsiteX7" fmla="*/ 0 w 353136"/>
                <a:gd name="connsiteY7" fmla="*/ 2982 h 735631"/>
                <a:gd name="connsiteX0" fmla="*/ 0 w 353136"/>
                <a:gd name="connsiteY0" fmla="*/ 2982 h 735631"/>
                <a:gd name="connsiteX1" fmla="*/ 204137 w 353136"/>
                <a:gd name="connsiteY1" fmla="*/ 0 h 735631"/>
                <a:gd name="connsiteX2" fmla="*/ 266853 w 353136"/>
                <a:gd name="connsiteY2" fmla="*/ 591541 h 735631"/>
                <a:gd name="connsiteX3" fmla="*/ 353136 w 353136"/>
                <a:gd name="connsiteY3" fmla="*/ 606330 h 735631"/>
                <a:gd name="connsiteX4" fmla="*/ 170819 w 353136"/>
                <a:gd name="connsiteY4" fmla="*/ 735631 h 735631"/>
                <a:gd name="connsiteX5" fmla="*/ 24763 w 353136"/>
                <a:gd name="connsiteY5" fmla="*/ 571917 h 735631"/>
                <a:gd name="connsiteX6" fmla="*/ 94224 w 353136"/>
                <a:gd name="connsiteY6" fmla="*/ 573426 h 735631"/>
                <a:gd name="connsiteX7" fmla="*/ 0 w 353136"/>
                <a:gd name="connsiteY7" fmla="*/ 2982 h 735631"/>
                <a:gd name="connsiteX0" fmla="*/ 0 w 353136"/>
                <a:gd name="connsiteY0" fmla="*/ 2982 h 735631"/>
                <a:gd name="connsiteX1" fmla="*/ 204137 w 353136"/>
                <a:gd name="connsiteY1" fmla="*/ 0 h 735631"/>
                <a:gd name="connsiteX2" fmla="*/ 266853 w 353136"/>
                <a:gd name="connsiteY2" fmla="*/ 591541 h 735631"/>
                <a:gd name="connsiteX3" fmla="*/ 353136 w 353136"/>
                <a:gd name="connsiteY3" fmla="*/ 606330 h 735631"/>
                <a:gd name="connsiteX4" fmla="*/ 170819 w 353136"/>
                <a:gd name="connsiteY4" fmla="*/ 735631 h 735631"/>
                <a:gd name="connsiteX5" fmla="*/ 21811 w 353136"/>
                <a:gd name="connsiteY5" fmla="*/ 572082 h 735631"/>
                <a:gd name="connsiteX6" fmla="*/ 94224 w 353136"/>
                <a:gd name="connsiteY6" fmla="*/ 573426 h 735631"/>
                <a:gd name="connsiteX7" fmla="*/ 0 w 353136"/>
                <a:gd name="connsiteY7" fmla="*/ 2982 h 735631"/>
                <a:gd name="connsiteX0" fmla="*/ 0 w 353136"/>
                <a:gd name="connsiteY0" fmla="*/ 2982 h 735631"/>
                <a:gd name="connsiteX1" fmla="*/ 204137 w 353136"/>
                <a:gd name="connsiteY1" fmla="*/ 0 h 735631"/>
                <a:gd name="connsiteX2" fmla="*/ 266853 w 353136"/>
                <a:gd name="connsiteY2" fmla="*/ 591541 h 735631"/>
                <a:gd name="connsiteX3" fmla="*/ 353136 w 353136"/>
                <a:gd name="connsiteY3" fmla="*/ 606330 h 735631"/>
                <a:gd name="connsiteX4" fmla="*/ 170819 w 353136"/>
                <a:gd name="connsiteY4" fmla="*/ 735631 h 735631"/>
                <a:gd name="connsiteX5" fmla="*/ 21811 w 353136"/>
                <a:gd name="connsiteY5" fmla="*/ 572082 h 735631"/>
                <a:gd name="connsiteX6" fmla="*/ 94224 w 353136"/>
                <a:gd name="connsiteY6" fmla="*/ 573426 h 735631"/>
                <a:gd name="connsiteX7" fmla="*/ 0 w 353136"/>
                <a:gd name="connsiteY7" fmla="*/ 2982 h 735631"/>
                <a:gd name="connsiteX0" fmla="*/ 29959 w 331325"/>
                <a:gd name="connsiteY0" fmla="*/ 0 h 735702"/>
                <a:gd name="connsiteX1" fmla="*/ 182326 w 331325"/>
                <a:gd name="connsiteY1" fmla="*/ 71 h 735702"/>
                <a:gd name="connsiteX2" fmla="*/ 245042 w 331325"/>
                <a:gd name="connsiteY2" fmla="*/ 591612 h 735702"/>
                <a:gd name="connsiteX3" fmla="*/ 331325 w 331325"/>
                <a:gd name="connsiteY3" fmla="*/ 606401 h 735702"/>
                <a:gd name="connsiteX4" fmla="*/ 149008 w 331325"/>
                <a:gd name="connsiteY4" fmla="*/ 735702 h 735702"/>
                <a:gd name="connsiteX5" fmla="*/ 0 w 331325"/>
                <a:gd name="connsiteY5" fmla="*/ 572153 h 735702"/>
                <a:gd name="connsiteX6" fmla="*/ 72413 w 331325"/>
                <a:gd name="connsiteY6" fmla="*/ 573497 h 735702"/>
                <a:gd name="connsiteX7" fmla="*/ 29959 w 331325"/>
                <a:gd name="connsiteY7" fmla="*/ 0 h 735702"/>
                <a:gd name="connsiteX0" fmla="*/ 29959 w 331325"/>
                <a:gd name="connsiteY0" fmla="*/ 0 h 735702"/>
                <a:gd name="connsiteX1" fmla="*/ 182326 w 331325"/>
                <a:gd name="connsiteY1" fmla="*/ 71 h 735702"/>
                <a:gd name="connsiteX2" fmla="*/ 245042 w 331325"/>
                <a:gd name="connsiteY2" fmla="*/ 591612 h 735702"/>
                <a:gd name="connsiteX3" fmla="*/ 331325 w 331325"/>
                <a:gd name="connsiteY3" fmla="*/ 606401 h 735702"/>
                <a:gd name="connsiteX4" fmla="*/ 149008 w 331325"/>
                <a:gd name="connsiteY4" fmla="*/ 735702 h 735702"/>
                <a:gd name="connsiteX5" fmla="*/ 0 w 331325"/>
                <a:gd name="connsiteY5" fmla="*/ 572153 h 735702"/>
                <a:gd name="connsiteX6" fmla="*/ 72413 w 331325"/>
                <a:gd name="connsiteY6" fmla="*/ 573497 h 735702"/>
                <a:gd name="connsiteX7" fmla="*/ 29959 w 331325"/>
                <a:gd name="connsiteY7" fmla="*/ 0 h 735702"/>
                <a:gd name="connsiteX0" fmla="*/ 29959 w 331325"/>
                <a:gd name="connsiteY0" fmla="*/ 0 h 735702"/>
                <a:gd name="connsiteX1" fmla="*/ 209742 w 331325"/>
                <a:gd name="connsiteY1" fmla="*/ 4105 h 735702"/>
                <a:gd name="connsiteX2" fmla="*/ 245042 w 331325"/>
                <a:gd name="connsiteY2" fmla="*/ 591612 h 735702"/>
                <a:gd name="connsiteX3" fmla="*/ 331325 w 331325"/>
                <a:gd name="connsiteY3" fmla="*/ 606401 h 735702"/>
                <a:gd name="connsiteX4" fmla="*/ 149008 w 331325"/>
                <a:gd name="connsiteY4" fmla="*/ 735702 h 735702"/>
                <a:gd name="connsiteX5" fmla="*/ 0 w 331325"/>
                <a:gd name="connsiteY5" fmla="*/ 572153 h 735702"/>
                <a:gd name="connsiteX6" fmla="*/ 72413 w 331325"/>
                <a:gd name="connsiteY6" fmla="*/ 573497 h 735702"/>
                <a:gd name="connsiteX7" fmla="*/ 29959 w 331325"/>
                <a:gd name="connsiteY7" fmla="*/ 0 h 735702"/>
                <a:gd name="connsiteX0" fmla="*/ 29959 w 331325"/>
                <a:gd name="connsiteY0" fmla="*/ 0 h 735702"/>
                <a:gd name="connsiteX1" fmla="*/ 221491 w 331325"/>
                <a:gd name="connsiteY1" fmla="*/ 5832 h 735702"/>
                <a:gd name="connsiteX2" fmla="*/ 245042 w 331325"/>
                <a:gd name="connsiteY2" fmla="*/ 591612 h 735702"/>
                <a:gd name="connsiteX3" fmla="*/ 331325 w 331325"/>
                <a:gd name="connsiteY3" fmla="*/ 606401 h 735702"/>
                <a:gd name="connsiteX4" fmla="*/ 149008 w 331325"/>
                <a:gd name="connsiteY4" fmla="*/ 735702 h 735702"/>
                <a:gd name="connsiteX5" fmla="*/ 0 w 331325"/>
                <a:gd name="connsiteY5" fmla="*/ 572153 h 735702"/>
                <a:gd name="connsiteX6" fmla="*/ 72413 w 331325"/>
                <a:gd name="connsiteY6" fmla="*/ 573497 h 735702"/>
                <a:gd name="connsiteX7" fmla="*/ 29959 w 331325"/>
                <a:gd name="connsiteY7" fmla="*/ 0 h 735702"/>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40079 w 331325"/>
                <a:gd name="connsiteY0" fmla="*/ 0 h 732214"/>
                <a:gd name="connsiteX1" fmla="*/ 221491 w 331325"/>
                <a:gd name="connsiteY1" fmla="*/ 2344 h 732214"/>
                <a:gd name="connsiteX2" fmla="*/ 245042 w 331325"/>
                <a:gd name="connsiteY2" fmla="*/ 588124 h 732214"/>
                <a:gd name="connsiteX3" fmla="*/ 331325 w 331325"/>
                <a:gd name="connsiteY3" fmla="*/ 602913 h 732214"/>
                <a:gd name="connsiteX4" fmla="*/ 149008 w 331325"/>
                <a:gd name="connsiteY4" fmla="*/ 732214 h 732214"/>
                <a:gd name="connsiteX5" fmla="*/ 0 w 331325"/>
                <a:gd name="connsiteY5" fmla="*/ 568665 h 732214"/>
                <a:gd name="connsiteX6" fmla="*/ 72413 w 331325"/>
                <a:gd name="connsiteY6" fmla="*/ 570009 h 732214"/>
                <a:gd name="connsiteX7" fmla="*/ 40079 w 331325"/>
                <a:gd name="connsiteY7" fmla="*/ 0 h 732214"/>
                <a:gd name="connsiteX0" fmla="*/ 25713 w 316959"/>
                <a:gd name="connsiteY0" fmla="*/ 0 h 732214"/>
                <a:gd name="connsiteX1" fmla="*/ 207125 w 316959"/>
                <a:gd name="connsiteY1" fmla="*/ 2344 h 732214"/>
                <a:gd name="connsiteX2" fmla="*/ 230676 w 316959"/>
                <a:gd name="connsiteY2" fmla="*/ 588124 h 732214"/>
                <a:gd name="connsiteX3" fmla="*/ 316959 w 316959"/>
                <a:gd name="connsiteY3" fmla="*/ 602913 h 732214"/>
                <a:gd name="connsiteX4" fmla="*/ 134642 w 316959"/>
                <a:gd name="connsiteY4" fmla="*/ 732214 h 732214"/>
                <a:gd name="connsiteX5" fmla="*/ 0 w 316959"/>
                <a:gd name="connsiteY5" fmla="*/ 574780 h 732214"/>
                <a:gd name="connsiteX6" fmla="*/ 58047 w 316959"/>
                <a:gd name="connsiteY6" fmla="*/ 570009 h 732214"/>
                <a:gd name="connsiteX7" fmla="*/ 25713 w 316959"/>
                <a:gd name="connsiteY7" fmla="*/ 0 h 732214"/>
                <a:gd name="connsiteX0" fmla="*/ 25713 w 290868"/>
                <a:gd name="connsiteY0" fmla="*/ 0 h 732214"/>
                <a:gd name="connsiteX1" fmla="*/ 207125 w 290868"/>
                <a:gd name="connsiteY1" fmla="*/ 2344 h 732214"/>
                <a:gd name="connsiteX2" fmla="*/ 230676 w 290868"/>
                <a:gd name="connsiteY2" fmla="*/ 588124 h 732214"/>
                <a:gd name="connsiteX3" fmla="*/ 290868 w 290868"/>
                <a:gd name="connsiteY3" fmla="*/ 613076 h 732214"/>
                <a:gd name="connsiteX4" fmla="*/ 134642 w 290868"/>
                <a:gd name="connsiteY4" fmla="*/ 732214 h 732214"/>
                <a:gd name="connsiteX5" fmla="*/ 0 w 290868"/>
                <a:gd name="connsiteY5" fmla="*/ 574780 h 732214"/>
                <a:gd name="connsiteX6" fmla="*/ 58047 w 290868"/>
                <a:gd name="connsiteY6" fmla="*/ 570009 h 732214"/>
                <a:gd name="connsiteX7" fmla="*/ 25713 w 290868"/>
                <a:gd name="connsiteY7" fmla="*/ 0 h 732214"/>
                <a:gd name="connsiteX0" fmla="*/ 25713 w 290868"/>
                <a:gd name="connsiteY0" fmla="*/ 0 h 732214"/>
                <a:gd name="connsiteX1" fmla="*/ 207125 w 290868"/>
                <a:gd name="connsiteY1" fmla="*/ 2344 h 732214"/>
                <a:gd name="connsiteX2" fmla="*/ 230676 w 290868"/>
                <a:gd name="connsiteY2" fmla="*/ 588124 h 732214"/>
                <a:gd name="connsiteX3" fmla="*/ 290868 w 290868"/>
                <a:gd name="connsiteY3" fmla="*/ 613076 h 732214"/>
                <a:gd name="connsiteX4" fmla="*/ 134642 w 290868"/>
                <a:gd name="connsiteY4" fmla="*/ 732214 h 732214"/>
                <a:gd name="connsiteX5" fmla="*/ 0 w 290868"/>
                <a:gd name="connsiteY5" fmla="*/ 574780 h 732214"/>
                <a:gd name="connsiteX6" fmla="*/ 58712 w 290868"/>
                <a:gd name="connsiteY6" fmla="*/ 580107 h 732214"/>
                <a:gd name="connsiteX7" fmla="*/ 25713 w 290868"/>
                <a:gd name="connsiteY7" fmla="*/ 0 h 732214"/>
                <a:gd name="connsiteX0" fmla="*/ 25713 w 290868"/>
                <a:gd name="connsiteY0" fmla="*/ 0 h 732214"/>
                <a:gd name="connsiteX1" fmla="*/ 207125 w 290868"/>
                <a:gd name="connsiteY1" fmla="*/ 2344 h 732214"/>
                <a:gd name="connsiteX2" fmla="*/ 227763 w 290868"/>
                <a:gd name="connsiteY2" fmla="*/ 605698 h 732214"/>
                <a:gd name="connsiteX3" fmla="*/ 290868 w 290868"/>
                <a:gd name="connsiteY3" fmla="*/ 613076 h 732214"/>
                <a:gd name="connsiteX4" fmla="*/ 134642 w 290868"/>
                <a:gd name="connsiteY4" fmla="*/ 732214 h 732214"/>
                <a:gd name="connsiteX5" fmla="*/ 0 w 290868"/>
                <a:gd name="connsiteY5" fmla="*/ 574780 h 732214"/>
                <a:gd name="connsiteX6" fmla="*/ 58712 w 290868"/>
                <a:gd name="connsiteY6" fmla="*/ 580107 h 732214"/>
                <a:gd name="connsiteX7" fmla="*/ 25713 w 290868"/>
                <a:gd name="connsiteY7" fmla="*/ 0 h 732214"/>
                <a:gd name="connsiteX0" fmla="*/ 27021 w 292176"/>
                <a:gd name="connsiteY0" fmla="*/ 0 h 732214"/>
                <a:gd name="connsiteX1" fmla="*/ 208433 w 292176"/>
                <a:gd name="connsiteY1" fmla="*/ 2344 h 732214"/>
                <a:gd name="connsiteX2" fmla="*/ 229071 w 292176"/>
                <a:gd name="connsiteY2" fmla="*/ 605698 h 732214"/>
                <a:gd name="connsiteX3" fmla="*/ 292176 w 292176"/>
                <a:gd name="connsiteY3" fmla="*/ 613076 h 732214"/>
                <a:gd name="connsiteX4" fmla="*/ 135950 w 292176"/>
                <a:gd name="connsiteY4" fmla="*/ 732214 h 732214"/>
                <a:gd name="connsiteX5" fmla="*/ 0 w 292176"/>
                <a:gd name="connsiteY5" fmla="*/ 572588 h 732214"/>
                <a:gd name="connsiteX6" fmla="*/ 60020 w 292176"/>
                <a:gd name="connsiteY6" fmla="*/ 580107 h 732214"/>
                <a:gd name="connsiteX7" fmla="*/ 27021 w 292176"/>
                <a:gd name="connsiteY7" fmla="*/ 0 h 732214"/>
                <a:gd name="connsiteX0" fmla="*/ 27021 w 292176"/>
                <a:gd name="connsiteY0" fmla="*/ 0 h 741880"/>
                <a:gd name="connsiteX1" fmla="*/ 208433 w 292176"/>
                <a:gd name="connsiteY1" fmla="*/ 2344 h 741880"/>
                <a:gd name="connsiteX2" fmla="*/ 229071 w 292176"/>
                <a:gd name="connsiteY2" fmla="*/ 605698 h 741880"/>
                <a:gd name="connsiteX3" fmla="*/ 292176 w 292176"/>
                <a:gd name="connsiteY3" fmla="*/ 613076 h 741880"/>
                <a:gd name="connsiteX4" fmla="*/ 133679 w 292176"/>
                <a:gd name="connsiteY4" fmla="*/ 741880 h 741880"/>
                <a:gd name="connsiteX5" fmla="*/ 0 w 292176"/>
                <a:gd name="connsiteY5" fmla="*/ 572588 h 741880"/>
                <a:gd name="connsiteX6" fmla="*/ 60020 w 292176"/>
                <a:gd name="connsiteY6" fmla="*/ 580107 h 741880"/>
                <a:gd name="connsiteX7" fmla="*/ 27021 w 292176"/>
                <a:gd name="connsiteY7" fmla="*/ 0 h 741880"/>
                <a:gd name="connsiteX0" fmla="*/ 27021 w 292176"/>
                <a:gd name="connsiteY0" fmla="*/ 0 h 741880"/>
                <a:gd name="connsiteX1" fmla="*/ 208433 w 292176"/>
                <a:gd name="connsiteY1" fmla="*/ 2344 h 741880"/>
                <a:gd name="connsiteX2" fmla="*/ 229713 w 292176"/>
                <a:gd name="connsiteY2" fmla="*/ 597792 h 741880"/>
                <a:gd name="connsiteX3" fmla="*/ 292176 w 292176"/>
                <a:gd name="connsiteY3" fmla="*/ 613076 h 741880"/>
                <a:gd name="connsiteX4" fmla="*/ 133679 w 292176"/>
                <a:gd name="connsiteY4" fmla="*/ 741880 h 741880"/>
                <a:gd name="connsiteX5" fmla="*/ 0 w 292176"/>
                <a:gd name="connsiteY5" fmla="*/ 572588 h 741880"/>
                <a:gd name="connsiteX6" fmla="*/ 60020 w 292176"/>
                <a:gd name="connsiteY6" fmla="*/ 580107 h 741880"/>
                <a:gd name="connsiteX7" fmla="*/ 27021 w 292176"/>
                <a:gd name="connsiteY7" fmla="*/ 0 h 741880"/>
                <a:gd name="connsiteX0" fmla="*/ 27021 w 292176"/>
                <a:gd name="connsiteY0" fmla="*/ 0 h 741880"/>
                <a:gd name="connsiteX1" fmla="*/ 219860 w 292176"/>
                <a:gd name="connsiteY1" fmla="*/ 8025 h 741880"/>
                <a:gd name="connsiteX2" fmla="*/ 229713 w 292176"/>
                <a:gd name="connsiteY2" fmla="*/ 597792 h 741880"/>
                <a:gd name="connsiteX3" fmla="*/ 292176 w 292176"/>
                <a:gd name="connsiteY3" fmla="*/ 613076 h 741880"/>
                <a:gd name="connsiteX4" fmla="*/ 133679 w 292176"/>
                <a:gd name="connsiteY4" fmla="*/ 741880 h 741880"/>
                <a:gd name="connsiteX5" fmla="*/ 0 w 292176"/>
                <a:gd name="connsiteY5" fmla="*/ 572588 h 741880"/>
                <a:gd name="connsiteX6" fmla="*/ 60020 w 292176"/>
                <a:gd name="connsiteY6" fmla="*/ 580107 h 741880"/>
                <a:gd name="connsiteX7" fmla="*/ 27021 w 292176"/>
                <a:gd name="connsiteY7" fmla="*/ 0 h 741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2176" h="741880">
                  <a:moveTo>
                    <a:pt x="27021" y="0"/>
                  </a:moveTo>
                  <a:lnTo>
                    <a:pt x="219860" y="8025"/>
                  </a:lnTo>
                  <a:cubicBezTo>
                    <a:pt x="280882" y="249963"/>
                    <a:pt x="251380" y="518322"/>
                    <a:pt x="229713" y="597792"/>
                  </a:cubicBezTo>
                  <a:lnTo>
                    <a:pt x="292176" y="613076"/>
                  </a:lnTo>
                  <a:lnTo>
                    <a:pt x="133679" y="741880"/>
                  </a:lnTo>
                  <a:lnTo>
                    <a:pt x="0" y="572588"/>
                  </a:lnTo>
                  <a:lnTo>
                    <a:pt x="60020" y="580107"/>
                  </a:lnTo>
                  <a:cubicBezTo>
                    <a:pt x="75298" y="517510"/>
                    <a:pt x="120241" y="243172"/>
                    <a:pt x="27021" y="0"/>
                  </a:cubicBezTo>
                  <a:close/>
                </a:path>
              </a:pathLst>
            </a:custGeom>
            <a:gradFill>
              <a:gsLst>
                <a:gs pos="19000">
                  <a:srgbClr val="FFFFFF">
                    <a:alpha val="56000"/>
                  </a:srgbClr>
                </a:gs>
                <a:gs pos="35000">
                  <a:srgbClr val="FFFFFF"/>
                </a:gs>
                <a:gs pos="0">
                  <a:srgbClr val="FFFFFF">
                    <a:alpha val="0"/>
                  </a:srgbClr>
                </a:gs>
              </a:gsLst>
              <a:lin ang="5400000" scaled="0"/>
            </a:gradFill>
            <a:ln w="25400" cap="flat" cmpd="sng" algn="ctr">
              <a:noFill/>
              <a:prstDash val="solid"/>
            </a:ln>
            <a:effectLst/>
          </p:spPr>
          <p:txBody>
            <a:bodyPr rtlCol="0" anchor="ctr"/>
            <a:lstStyle/>
            <a:p>
              <a:pPr algn="ctr" defTabSz="685800">
                <a:defRPr/>
              </a:pPr>
              <a:endParaRPr lang="en-US" sz="1350" kern="0" dirty="0">
                <a:solidFill>
                  <a:srgbClr val="000000"/>
                </a:solidFill>
                <a:latin typeface="Open Sans"/>
                <a:cs typeface="Open Sans"/>
              </a:endParaRPr>
            </a:p>
          </p:txBody>
        </p:sp>
      </p:grpSp>
      <p:grpSp>
        <p:nvGrpSpPr>
          <p:cNvPr id="5" name="Group 4"/>
          <p:cNvGrpSpPr/>
          <p:nvPr/>
        </p:nvGrpSpPr>
        <p:grpSpPr>
          <a:xfrm>
            <a:off x="5458840" y="1055940"/>
            <a:ext cx="3246120" cy="1026114"/>
            <a:chOff x="5458841" y="1055940"/>
            <a:chExt cx="2835305" cy="1026114"/>
          </a:xfrm>
        </p:grpSpPr>
        <p:sp>
          <p:nvSpPr>
            <p:cNvPr id="72" name="Rounded Rectangle 71"/>
            <p:cNvSpPr/>
            <p:nvPr/>
          </p:nvSpPr>
          <p:spPr>
            <a:xfrm>
              <a:off x="6363378" y="1055940"/>
              <a:ext cx="1930768" cy="1026114"/>
            </a:xfrm>
            <a:prstGeom prst="roundRect">
              <a:avLst>
                <a:gd name="adj" fmla="val 10241"/>
              </a:avLst>
            </a:prstGeom>
            <a:solidFill>
              <a:schemeClr val="bg1"/>
            </a:solidFill>
            <a:ln w="38100">
              <a:solidFill>
                <a:srgbClr val="D9DADA"/>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a:lnSpc>
                  <a:spcPct val="110000"/>
                </a:lnSpc>
                <a:buClr>
                  <a:srgbClr val="000000">
                    <a:lumMod val="50000"/>
                    <a:lumOff val="50000"/>
                  </a:srgbClr>
                </a:buClr>
                <a:buSzPct val="100000"/>
                <a:defRPr/>
              </a:pPr>
              <a:r>
                <a:rPr lang="en-US" kern="0" dirty="0">
                  <a:solidFill>
                    <a:schemeClr val="tx1"/>
                  </a:solidFill>
                  <a:cs typeface="Open Sans"/>
                </a:rPr>
                <a:t> 30 – 75% faster time-to-market</a:t>
              </a:r>
            </a:p>
          </p:txBody>
        </p:sp>
        <p:cxnSp>
          <p:nvCxnSpPr>
            <p:cNvPr id="74" name="Straight Connector 73"/>
            <p:cNvCxnSpPr/>
            <p:nvPr/>
          </p:nvCxnSpPr>
          <p:spPr bwMode="auto">
            <a:xfrm>
              <a:off x="5458841" y="1487988"/>
              <a:ext cx="904538" cy="0"/>
            </a:xfrm>
            <a:prstGeom prst="line">
              <a:avLst/>
            </a:prstGeom>
            <a:solidFill>
              <a:schemeClr val="accent1"/>
            </a:solidFill>
            <a:ln w="38100" cap="flat" cmpd="sng" algn="ctr">
              <a:solidFill>
                <a:schemeClr val="accent5"/>
              </a:solidFill>
              <a:prstDash val="solid"/>
              <a:round/>
              <a:headEnd type="oval" w="med" len="med"/>
              <a:tailEnd type="oval"/>
            </a:ln>
            <a:effectLst/>
          </p:spPr>
        </p:cxnSp>
      </p:grpSp>
      <p:grpSp>
        <p:nvGrpSpPr>
          <p:cNvPr id="4" name="Group 3"/>
          <p:cNvGrpSpPr/>
          <p:nvPr/>
        </p:nvGrpSpPr>
        <p:grpSpPr>
          <a:xfrm>
            <a:off x="601220" y="1109946"/>
            <a:ext cx="3246120" cy="1026114"/>
            <a:chOff x="817581" y="1109946"/>
            <a:chExt cx="2940368" cy="1026114"/>
          </a:xfrm>
        </p:grpSpPr>
        <p:sp>
          <p:nvSpPr>
            <p:cNvPr id="70" name="Rounded Rectangle 69"/>
            <p:cNvSpPr/>
            <p:nvPr/>
          </p:nvSpPr>
          <p:spPr>
            <a:xfrm>
              <a:off x="817581" y="1109946"/>
              <a:ext cx="1927395" cy="1026114"/>
            </a:xfrm>
            <a:prstGeom prst="roundRect">
              <a:avLst>
                <a:gd name="adj" fmla="val 8812"/>
              </a:avLst>
            </a:prstGeom>
            <a:solidFill>
              <a:schemeClr val="bg1"/>
            </a:solidFill>
            <a:ln w="38100">
              <a:solidFill>
                <a:srgbClr val="D9DADA"/>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110000"/>
                </a:lnSpc>
                <a:buClr>
                  <a:srgbClr val="000000">
                    <a:lumMod val="50000"/>
                    <a:lumOff val="50000"/>
                  </a:srgbClr>
                </a:buClr>
                <a:buSzPct val="100000"/>
                <a:defRPr/>
              </a:pPr>
              <a:r>
                <a:rPr lang="en-US" kern="0" dirty="0">
                  <a:solidFill>
                    <a:schemeClr val="tx1"/>
                  </a:solidFill>
                  <a:cs typeface="Open Sans"/>
                </a:rPr>
                <a:t>10 – 50% happier,</a:t>
              </a:r>
              <a:br>
                <a:rPr lang="en-US" kern="0" dirty="0">
                  <a:solidFill>
                    <a:schemeClr val="tx1"/>
                  </a:solidFill>
                  <a:cs typeface="Open Sans"/>
                </a:rPr>
              </a:br>
              <a:r>
                <a:rPr lang="en-US" kern="0" dirty="0">
                  <a:solidFill>
                    <a:schemeClr val="tx1"/>
                  </a:solidFill>
                  <a:cs typeface="Open Sans"/>
                </a:rPr>
                <a:t> more motivated employees</a:t>
              </a:r>
            </a:p>
          </p:txBody>
        </p:sp>
        <p:cxnSp>
          <p:nvCxnSpPr>
            <p:cNvPr id="75" name="Straight Connector 74"/>
            <p:cNvCxnSpPr/>
            <p:nvPr/>
          </p:nvCxnSpPr>
          <p:spPr bwMode="auto">
            <a:xfrm>
              <a:off x="2744977" y="1487988"/>
              <a:ext cx="1012972" cy="0"/>
            </a:xfrm>
            <a:prstGeom prst="line">
              <a:avLst/>
            </a:prstGeom>
            <a:solidFill>
              <a:schemeClr val="accent1"/>
            </a:solidFill>
            <a:ln w="38100" cap="flat" cmpd="sng" algn="ctr">
              <a:solidFill>
                <a:schemeClr val="accent2"/>
              </a:solidFill>
              <a:prstDash val="solid"/>
              <a:round/>
              <a:headEnd type="oval" w="med" len="med"/>
              <a:tailEnd type="oval"/>
            </a:ln>
            <a:effectLst/>
          </p:spPr>
        </p:cxnSp>
      </p:grpSp>
      <p:grpSp>
        <p:nvGrpSpPr>
          <p:cNvPr id="7" name="Group 6"/>
          <p:cNvGrpSpPr/>
          <p:nvPr/>
        </p:nvGrpSpPr>
        <p:grpSpPr>
          <a:xfrm>
            <a:off x="601220" y="3054162"/>
            <a:ext cx="3073313" cy="1026114"/>
            <a:chOff x="817581" y="3054162"/>
            <a:chExt cx="2706540" cy="1026114"/>
          </a:xfrm>
        </p:grpSpPr>
        <p:sp>
          <p:nvSpPr>
            <p:cNvPr id="71" name="Rounded Rectangle 70"/>
            <p:cNvSpPr/>
            <p:nvPr/>
          </p:nvSpPr>
          <p:spPr>
            <a:xfrm>
              <a:off x="817581" y="3054162"/>
              <a:ext cx="1927395" cy="1026114"/>
            </a:xfrm>
            <a:prstGeom prst="roundRect">
              <a:avLst>
                <a:gd name="adj" fmla="val 9526"/>
              </a:avLst>
            </a:prstGeom>
            <a:solidFill>
              <a:schemeClr val="bg1"/>
            </a:solidFill>
            <a:ln w="38100">
              <a:solidFill>
                <a:srgbClr val="D9DADA"/>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a:lnSpc>
                  <a:spcPct val="110000"/>
                </a:lnSpc>
                <a:buClr>
                  <a:srgbClr val="000000">
                    <a:lumMod val="50000"/>
                    <a:lumOff val="50000"/>
                  </a:srgbClr>
                </a:buClr>
                <a:buSzPct val="100000"/>
                <a:defRPr/>
              </a:pPr>
              <a:r>
                <a:rPr lang="en-US" kern="0" dirty="0">
                  <a:solidFill>
                    <a:schemeClr val="tx1"/>
                  </a:solidFill>
                  <a:cs typeface="Open Sans"/>
                </a:rPr>
                <a:t>20 – 50% increase in productivity</a:t>
              </a:r>
            </a:p>
          </p:txBody>
        </p:sp>
        <p:cxnSp>
          <p:nvCxnSpPr>
            <p:cNvPr id="76" name="Straight Connector 75"/>
            <p:cNvCxnSpPr/>
            <p:nvPr/>
          </p:nvCxnSpPr>
          <p:spPr bwMode="auto">
            <a:xfrm>
              <a:off x="2744976" y="3702234"/>
              <a:ext cx="779145" cy="0"/>
            </a:xfrm>
            <a:prstGeom prst="line">
              <a:avLst/>
            </a:prstGeom>
            <a:solidFill>
              <a:schemeClr val="accent1"/>
            </a:solidFill>
            <a:ln w="38100" cap="flat" cmpd="sng" algn="ctr">
              <a:solidFill>
                <a:srgbClr val="2F5FAC"/>
              </a:solidFill>
              <a:prstDash val="solid"/>
              <a:round/>
              <a:headEnd type="oval" w="med" len="med"/>
              <a:tailEnd type="oval"/>
            </a:ln>
            <a:effectLst/>
          </p:spPr>
        </p:cxnSp>
      </p:grpSp>
      <p:grpSp>
        <p:nvGrpSpPr>
          <p:cNvPr id="6" name="Group 5"/>
          <p:cNvGrpSpPr/>
          <p:nvPr/>
        </p:nvGrpSpPr>
        <p:grpSpPr>
          <a:xfrm>
            <a:off x="5581305" y="3108168"/>
            <a:ext cx="3101732" cy="1026114"/>
            <a:chOff x="5581305" y="3108168"/>
            <a:chExt cx="2766847" cy="1026114"/>
          </a:xfrm>
        </p:grpSpPr>
        <p:sp>
          <p:nvSpPr>
            <p:cNvPr id="73" name="Rounded Rectangle 72"/>
            <p:cNvSpPr/>
            <p:nvPr/>
          </p:nvSpPr>
          <p:spPr>
            <a:xfrm>
              <a:off x="6417384" y="3108168"/>
              <a:ext cx="1930768" cy="1026114"/>
            </a:xfrm>
            <a:prstGeom prst="roundRect">
              <a:avLst>
                <a:gd name="adj" fmla="val 10955"/>
              </a:avLst>
            </a:prstGeom>
            <a:solidFill>
              <a:schemeClr val="bg1"/>
            </a:solidFill>
            <a:ln w="38100">
              <a:solidFill>
                <a:srgbClr val="D9DADA"/>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110000"/>
                </a:lnSpc>
                <a:buClr>
                  <a:srgbClr val="000000">
                    <a:lumMod val="50000"/>
                    <a:lumOff val="50000"/>
                  </a:srgbClr>
                </a:buClr>
                <a:buSzPct val="100000"/>
                <a:defRPr/>
              </a:pPr>
              <a:r>
                <a:rPr lang="en-US" kern="0" dirty="0">
                  <a:solidFill>
                    <a:schemeClr val="tx1"/>
                  </a:solidFill>
                  <a:cs typeface="Open Sans"/>
                </a:rPr>
                <a:t>25 – 75% </a:t>
              </a:r>
              <a:br>
                <a:rPr lang="en-US" kern="0" dirty="0">
                  <a:solidFill>
                    <a:schemeClr val="tx1"/>
                  </a:solidFill>
                  <a:cs typeface="Open Sans"/>
                </a:rPr>
              </a:br>
              <a:r>
                <a:rPr lang="en-US" kern="0" dirty="0">
                  <a:solidFill>
                    <a:schemeClr val="tx1"/>
                  </a:solidFill>
                  <a:cs typeface="Open Sans"/>
                </a:rPr>
                <a:t>defect reduction </a:t>
              </a:r>
            </a:p>
          </p:txBody>
        </p:sp>
        <p:cxnSp>
          <p:nvCxnSpPr>
            <p:cNvPr id="77" name="Straight Connector 76"/>
            <p:cNvCxnSpPr/>
            <p:nvPr/>
          </p:nvCxnSpPr>
          <p:spPr bwMode="auto">
            <a:xfrm>
              <a:off x="5581305" y="3702234"/>
              <a:ext cx="836079" cy="0"/>
            </a:xfrm>
            <a:prstGeom prst="line">
              <a:avLst/>
            </a:prstGeom>
            <a:solidFill>
              <a:schemeClr val="accent1"/>
            </a:solidFill>
            <a:ln w="38100" cap="flat" cmpd="sng" algn="ctr">
              <a:solidFill>
                <a:srgbClr val="03B0F1"/>
              </a:solidFill>
              <a:prstDash val="solid"/>
              <a:round/>
              <a:headEnd type="oval" w="med" len="med"/>
              <a:tailEnd type="oval"/>
            </a:ln>
            <a:effectLst/>
          </p:spPr>
        </p:cxnSp>
      </p:grpSp>
      <p:sp>
        <p:nvSpPr>
          <p:cNvPr id="3" name="TextBox 2">
            <a:hlinkClick r:id="rId17"/>
          </p:cNvPr>
          <p:cNvSpPr txBox="1"/>
          <p:nvPr/>
        </p:nvSpPr>
        <p:spPr>
          <a:xfrm>
            <a:off x="2345762" y="4446011"/>
            <a:ext cx="4333238" cy="338554"/>
          </a:xfrm>
          <a:prstGeom prst="rect">
            <a:avLst/>
          </a:prstGeom>
          <a:noFill/>
        </p:spPr>
        <p:txBody>
          <a:bodyPr wrap="none" rtlCol="0">
            <a:spAutoFit/>
          </a:bodyPr>
          <a:lstStyle/>
          <a:p>
            <a:pPr algn="l"/>
            <a:r>
              <a:rPr lang="en-US" sz="1600" dirty="0">
                <a:cs typeface="Open Sans"/>
              </a:rPr>
              <a:t>See scaledagileframework.com/</a:t>
            </a:r>
            <a:r>
              <a:rPr lang="en-US" sz="1600" b="1" dirty="0">
                <a:cs typeface="Open Sans"/>
              </a:rPr>
              <a:t>case-studies</a:t>
            </a:r>
          </a:p>
        </p:txBody>
      </p:sp>
    </p:spTree>
    <p:extLst>
      <p:ext uri="{BB962C8B-B14F-4D97-AF65-F5344CB8AC3E}">
        <p14:creationId xmlns:p14="http://schemas.microsoft.com/office/powerpoint/2010/main" val="39777491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 name="Group 29"/>
          <p:cNvGrpSpPr/>
          <p:nvPr/>
        </p:nvGrpSpPr>
        <p:grpSpPr>
          <a:xfrm>
            <a:off x="804332" y="898692"/>
            <a:ext cx="7573012" cy="3478150"/>
            <a:chOff x="804332" y="830956"/>
            <a:chExt cx="7573012" cy="3478150"/>
          </a:xfrm>
        </p:grpSpPr>
        <p:pic>
          <p:nvPicPr>
            <p:cNvPr id="4" name="Picture 3" descr="case-study-box-northwest.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804332" y="833964"/>
              <a:ext cx="1280160" cy="1669594"/>
            </a:xfrm>
            <a:prstGeom prst="rect">
              <a:avLst/>
            </a:prstGeom>
          </p:spPr>
        </p:pic>
        <p:pic>
          <p:nvPicPr>
            <p:cNvPr id="10" name="Picture 9" descr="case-study-box-accenture.png"/>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2381778" y="2639512"/>
              <a:ext cx="1280160" cy="1669594"/>
            </a:xfrm>
            <a:prstGeom prst="rect">
              <a:avLst/>
            </a:prstGeom>
          </p:spPr>
        </p:pic>
        <p:pic>
          <p:nvPicPr>
            <p:cNvPr id="12" name="Picture 11" descr="case-study-box-pole_emploi.png"/>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5523971" y="2636504"/>
              <a:ext cx="1280160" cy="1669594"/>
            </a:xfrm>
            <a:prstGeom prst="rect">
              <a:avLst/>
            </a:prstGeom>
          </p:spPr>
        </p:pic>
        <p:pic>
          <p:nvPicPr>
            <p:cNvPr id="13" name="Picture 12" descr="Sony.png"/>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3933083" y="830956"/>
              <a:ext cx="1280160" cy="1675209"/>
            </a:xfrm>
            <a:prstGeom prst="rect">
              <a:avLst/>
            </a:prstGeom>
          </p:spPr>
        </p:pic>
        <p:pic>
          <p:nvPicPr>
            <p:cNvPr id="14" name="Picture 13"/>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2345762" y="838721"/>
              <a:ext cx="1280160" cy="1669593"/>
            </a:xfrm>
            <a:prstGeom prst="rect">
              <a:avLst/>
            </a:prstGeom>
          </p:spPr>
        </p:pic>
        <p:pic>
          <p:nvPicPr>
            <p:cNvPr id="15" name="Picture 14"/>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7097184" y="2639312"/>
              <a:ext cx="1280160" cy="1669593"/>
            </a:xfrm>
            <a:prstGeom prst="rect">
              <a:avLst/>
            </a:prstGeom>
          </p:spPr>
        </p:pic>
        <p:pic>
          <p:nvPicPr>
            <p:cNvPr id="22" name="Picture 21"/>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804332" y="2639512"/>
              <a:ext cx="1280160" cy="1669593"/>
            </a:xfrm>
            <a:prstGeom prst="rect">
              <a:avLst/>
            </a:prstGeom>
          </p:spPr>
        </p:pic>
        <p:pic>
          <p:nvPicPr>
            <p:cNvPr id="27" name="Picture 26" descr="case-study-box-cisco.png"/>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5506296" y="833964"/>
              <a:ext cx="1280160" cy="1669594"/>
            </a:xfrm>
            <a:prstGeom prst="rect">
              <a:avLst/>
            </a:prstGeom>
          </p:spPr>
        </p:pic>
        <p:pic>
          <p:nvPicPr>
            <p:cNvPr id="28" name="Picture 27"/>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7079509" y="833964"/>
              <a:ext cx="1280160" cy="1669593"/>
            </a:xfrm>
            <a:prstGeom prst="rect">
              <a:avLst/>
            </a:prstGeom>
          </p:spPr>
        </p:pic>
      </p:grpSp>
      <p:sp>
        <p:nvSpPr>
          <p:cNvPr id="29" name="TextBox 28"/>
          <p:cNvSpPr txBox="1"/>
          <p:nvPr/>
        </p:nvSpPr>
        <p:spPr>
          <a:xfrm>
            <a:off x="745067" y="304801"/>
            <a:ext cx="7738533" cy="430887"/>
          </a:xfrm>
          <a:prstGeom prst="rect">
            <a:avLst/>
          </a:prstGeom>
          <a:noFill/>
        </p:spPr>
        <p:txBody>
          <a:bodyPr wrap="square" rtlCol="0">
            <a:spAutoFit/>
          </a:bodyPr>
          <a:lstStyle/>
          <a:p>
            <a:pPr algn="l"/>
            <a:r>
              <a:rPr lang="en-US" sz="1100" dirty="0">
                <a:solidFill>
                  <a:schemeClr val="bg1">
                    <a:lumMod val="50000"/>
                  </a:schemeClr>
                </a:solidFill>
              </a:rPr>
              <a:t>Financial Services / Electronics / Software / Telecom / Retail &amp; Distribution / Government / Healthcare / Insurance / Medical Technology / Pharmaceutical / Media / Manufacturing / COTS Software / Customer Care &amp; Billing / Outsourcing</a:t>
            </a:r>
          </a:p>
        </p:txBody>
      </p:sp>
      <p:pic>
        <p:nvPicPr>
          <p:cNvPr id="16" name="Picture 15"/>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3950759" y="2707048"/>
            <a:ext cx="1280159" cy="1669593"/>
          </a:xfrm>
          <a:prstGeom prst="rect">
            <a:avLst/>
          </a:prstGeom>
        </p:spPr>
      </p:pic>
      <p:sp>
        <p:nvSpPr>
          <p:cNvPr id="17" name="TextBox 16">
            <a:hlinkClick r:id="rId13"/>
          </p:cNvPr>
          <p:cNvSpPr txBox="1"/>
          <p:nvPr/>
        </p:nvSpPr>
        <p:spPr>
          <a:xfrm>
            <a:off x="2345762" y="4446011"/>
            <a:ext cx="4333238" cy="338554"/>
          </a:xfrm>
          <a:prstGeom prst="rect">
            <a:avLst/>
          </a:prstGeom>
          <a:noFill/>
        </p:spPr>
        <p:txBody>
          <a:bodyPr wrap="none" rtlCol="0">
            <a:spAutoFit/>
          </a:bodyPr>
          <a:lstStyle/>
          <a:p>
            <a:pPr algn="l"/>
            <a:r>
              <a:rPr lang="en-US" sz="1600" dirty="0">
                <a:cs typeface="Open Sans"/>
              </a:rPr>
              <a:t>See scaledagileframework.com/</a:t>
            </a:r>
            <a:r>
              <a:rPr lang="en-US" sz="1600" b="1" dirty="0">
                <a:cs typeface="Open Sans"/>
              </a:rPr>
              <a:t>case-studies</a:t>
            </a:r>
          </a:p>
        </p:txBody>
      </p:sp>
    </p:spTree>
    <p:extLst>
      <p:ext uri="{BB962C8B-B14F-4D97-AF65-F5344CB8AC3E}">
        <p14:creationId xmlns:p14="http://schemas.microsoft.com/office/powerpoint/2010/main" val="372568034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2263974"/>
            <a:ext cx="9144000" cy="615553"/>
          </a:xfrm>
          <a:prstGeom prst="rect">
            <a:avLst/>
          </a:prstGeom>
          <a:noFill/>
        </p:spPr>
        <p:txBody>
          <a:bodyPr wrap="square" rtlCol="0" anchor="ctr">
            <a:spAutoFit/>
          </a:bodyPr>
          <a:lstStyle/>
          <a:p>
            <a:pPr algn="ctr" eaLnBrk="0" hangingPunct="0">
              <a:spcBef>
                <a:spcPct val="20000"/>
              </a:spcBef>
            </a:pPr>
            <a:r>
              <a:rPr lang="en-US" sz="3400" b="1" dirty="0">
                <a:solidFill>
                  <a:schemeClr val="bg1"/>
                </a:solidFill>
              </a:rPr>
              <a:t>Gain the Knowledge</a:t>
            </a:r>
            <a:endParaRPr lang="en-US" sz="3400" dirty="0">
              <a:solidFill>
                <a:schemeClr val="bg1"/>
              </a:solidFill>
            </a:endParaRPr>
          </a:p>
        </p:txBody>
      </p:sp>
      <p:sp>
        <p:nvSpPr>
          <p:cNvPr id="3" name="Title 2"/>
          <p:cNvSpPr>
            <a:spLocks noGrp="1"/>
          </p:cNvSpPr>
          <p:nvPr>
            <p:ph type="title"/>
          </p:nvPr>
        </p:nvSpPr>
        <p:spPr/>
        <p:txBody>
          <a:bodyPr/>
          <a:lstStyle/>
          <a:p>
            <a:r>
              <a:rPr lang="en-US" dirty="0"/>
              <a:t>Gain the knowledge</a:t>
            </a:r>
          </a:p>
        </p:txBody>
      </p:sp>
    </p:spTree>
    <p:extLst>
      <p:ext uri="{BB962C8B-B14F-4D97-AF65-F5344CB8AC3E}">
        <p14:creationId xmlns:p14="http://schemas.microsoft.com/office/powerpoint/2010/main" val="30140431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nvSpPr>
        <p:spPr bwMode="auto">
          <a:xfrm>
            <a:off x="4563763" y="0"/>
            <a:ext cx="4581144" cy="5148072"/>
          </a:xfrm>
          <a:prstGeom prst="rect">
            <a:avLst/>
          </a:prstGeom>
          <a:solidFill>
            <a:schemeClr val="accent1"/>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l" eaLnBrk="0" hangingPunct="0">
              <a:spcBef>
                <a:spcPct val="20000"/>
              </a:spcBef>
            </a:pPr>
            <a:endParaRPr lang="en-US" sz="2200" i="1" dirty="0"/>
          </a:p>
        </p:txBody>
      </p:sp>
      <p:sp>
        <p:nvSpPr>
          <p:cNvPr id="11" name="TextBox 10"/>
          <p:cNvSpPr txBox="1"/>
          <p:nvPr/>
        </p:nvSpPr>
        <p:spPr>
          <a:xfrm>
            <a:off x="5566152" y="2051281"/>
            <a:ext cx="3577847" cy="1252651"/>
          </a:xfrm>
          <a:prstGeom prst="rect">
            <a:avLst/>
          </a:prstGeom>
          <a:noFill/>
        </p:spPr>
        <p:txBody>
          <a:bodyPr wrap="square" rtlCol="0">
            <a:spAutoFit/>
          </a:bodyPr>
          <a:lstStyle/>
          <a:p>
            <a:pPr marL="285750" indent="-285750" eaLnBrk="0" hangingPunct="0">
              <a:spcBef>
                <a:spcPct val="20000"/>
              </a:spcBef>
              <a:buFont typeface="Wingdings" charset="2"/>
              <a:buChar char="§"/>
            </a:pPr>
            <a:r>
              <a:rPr lang="en-US" sz="1300" dirty="0">
                <a:solidFill>
                  <a:schemeClr val="bg1"/>
                </a:solidFill>
              </a:rPr>
              <a:t>Leading SAFe</a:t>
            </a:r>
            <a:r>
              <a:rPr lang="en-US" sz="1300" baseline="30000" dirty="0">
                <a:solidFill>
                  <a:schemeClr val="bg1"/>
                </a:solidFill>
              </a:rPr>
              <a:t>®</a:t>
            </a:r>
            <a:r>
              <a:rPr lang="en-US" sz="1300" dirty="0">
                <a:solidFill>
                  <a:schemeClr val="bg1"/>
                </a:solidFill>
              </a:rPr>
              <a:t> </a:t>
            </a:r>
          </a:p>
          <a:p>
            <a:pPr marL="285750" indent="-285750" eaLnBrk="0" hangingPunct="0">
              <a:spcBef>
                <a:spcPct val="20000"/>
              </a:spcBef>
              <a:buFont typeface="Wingdings" charset="2"/>
              <a:buChar char="§"/>
            </a:pPr>
            <a:r>
              <a:rPr lang="en-US" sz="1300" dirty="0">
                <a:solidFill>
                  <a:schemeClr val="bg1"/>
                </a:solidFill>
              </a:rPr>
              <a:t>SAFe</a:t>
            </a:r>
            <a:r>
              <a:rPr lang="en-US" sz="1300" baseline="30000" dirty="0">
                <a:solidFill>
                  <a:schemeClr val="bg1"/>
                </a:solidFill>
              </a:rPr>
              <a:t>®</a:t>
            </a:r>
            <a:r>
              <a:rPr lang="en-US" sz="1300" dirty="0">
                <a:solidFill>
                  <a:schemeClr val="bg1"/>
                </a:solidFill>
              </a:rPr>
              <a:t> for Teams </a:t>
            </a:r>
          </a:p>
          <a:p>
            <a:pPr marL="285750" indent="-285750" eaLnBrk="0" hangingPunct="0">
              <a:spcBef>
                <a:spcPct val="20000"/>
              </a:spcBef>
              <a:buFont typeface="Wingdings" charset="2"/>
              <a:buChar char="§"/>
            </a:pPr>
            <a:r>
              <a:rPr lang="en-US" sz="1300" dirty="0">
                <a:solidFill>
                  <a:schemeClr val="bg1"/>
                </a:solidFill>
              </a:rPr>
              <a:t>SAFe</a:t>
            </a:r>
            <a:r>
              <a:rPr lang="en-US" sz="1300" baseline="30000" dirty="0">
                <a:solidFill>
                  <a:schemeClr val="bg1"/>
                </a:solidFill>
              </a:rPr>
              <a:t>®</a:t>
            </a:r>
            <a:r>
              <a:rPr lang="en-US" sz="1300" dirty="0">
                <a:solidFill>
                  <a:schemeClr val="bg1"/>
                </a:solidFill>
              </a:rPr>
              <a:t> Scrum Master </a:t>
            </a:r>
          </a:p>
          <a:p>
            <a:pPr marL="285750" indent="-285750" eaLnBrk="0" hangingPunct="0">
              <a:spcBef>
                <a:spcPct val="20000"/>
              </a:spcBef>
              <a:buFont typeface="Wingdings" charset="2"/>
              <a:buChar char="§"/>
            </a:pPr>
            <a:r>
              <a:rPr lang="en-US" sz="1300" dirty="0">
                <a:solidFill>
                  <a:schemeClr val="bg1"/>
                </a:solidFill>
              </a:rPr>
              <a:t>SAFe</a:t>
            </a:r>
            <a:r>
              <a:rPr lang="en-US" sz="1300" baseline="30000" dirty="0">
                <a:solidFill>
                  <a:schemeClr val="bg1"/>
                </a:solidFill>
              </a:rPr>
              <a:t>®</a:t>
            </a:r>
            <a:r>
              <a:rPr lang="en-US" sz="1300" dirty="0">
                <a:solidFill>
                  <a:schemeClr val="bg1"/>
                </a:solidFill>
              </a:rPr>
              <a:t> Product Owner/Product Manager</a:t>
            </a:r>
          </a:p>
          <a:p>
            <a:pPr marL="285750" indent="-285750" eaLnBrk="0" hangingPunct="0">
              <a:spcBef>
                <a:spcPct val="20000"/>
              </a:spcBef>
              <a:buFont typeface="Wingdings" charset="2"/>
              <a:buChar char="§"/>
            </a:pPr>
            <a:r>
              <a:rPr lang="en-US" sz="1300" dirty="0">
                <a:solidFill>
                  <a:schemeClr val="bg1"/>
                </a:solidFill>
              </a:rPr>
              <a:t>SAFe</a:t>
            </a:r>
            <a:r>
              <a:rPr lang="en-US" sz="1300" baseline="30000" dirty="0">
                <a:solidFill>
                  <a:schemeClr val="bg1"/>
                </a:solidFill>
              </a:rPr>
              <a:t>®</a:t>
            </a:r>
            <a:r>
              <a:rPr lang="en-US" sz="1300" dirty="0">
                <a:solidFill>
                  <a:schemeClr val="bg1"/>
                </a:solidFill>
              </a:rPr>
              <a:t> DevOps</a:t>
            </a:r>
            <a:endParaRPr lang="en-US" sz="1300" dirty="0">
              <a:solidFill>
                <a:schemeClr val="accent1">
                  <a:lumMod val="40000"/>
                  <a:lumOff val="60000"/>
                </a:schemeClr>
              </a:solidFill>
            </a:endParaRPr>
          </a:p>
        </p:txBody>
      </p:sp>
      <p:sp>
        <p:nvSpPr>
          <p:cNvPr id="12" name="TextBox 11"/>
          <p:cNvSpPr txBox="1"/>
          <p:nvPr/>
        </p:nvSpPr>
        <p:spPr>
          <a:xfrm>
            <a:off x="4769708" y="1560213"/>
            <a:ext cx="4374291" cy="369332"/>
          </a:xfrm>
          <a:prstGeom prst="rect">
            <a:avLst/>
          </a:prstGeom>
          <a:solidFill>
            <a:schemeClr val="accent1">
              <a:lumMod val="60000"/>
              <a:lumOff val="40000"/>
            </a:schemeClr>
          </a:solidFill>
        </p:spPr>
        <p:txBody>
          <a:bodyPr wrap="square" rtlCol="0" anchor="ctr" anchorCtr="0">
            <a:spAutoFit/>
          </a:bodyPr>
          <a:lstStyle/>
          <a:p>
            <a:pPr algn="ctr"/>
            <a:r>
              <a:rPr lang="en-US" dirty="0">
                <a:solidFill>
                  <a:schemeClr val="bg1"/>
                </a:solidFill>
              </a:rPr>
              <a:t>CORE</a:t>
            </a:r>
          </a:p>
        </p:txBody>
      </p:sp>
      <p:sp>
        <p:nvSpPr>
          <p:cNvPr id="13" name="TextBox 12"/>
          <p:cNvSpPr txBox="1"/>
          <p:nvPr/>
        </p:nvSpPr>
        <p:spPr>
          <a:xfrm>
            <a:off x="4769708" y="3373619"/>
            <a:ext cx="4374292" cy="369332"/>
          </a:xfrm>
          <a:prstGeom prst="rect">
            <a:avLst/>
          </a:prstGeom>
          <a:solidFill>
            <a:schemeClr val="accent1">
              <a:lumMod val="60000"/>
              <a:lumOff val="40000"/>
            </a:schemeClr>
          </a:solidFill>
        </p:spPr>
        <p:txBody>
          <a:bodyPr wrap="square" rtlCol="0" anchor="ctr" anchorCtr="0">
            <a:spAutoFit/>
          </a:bodyPr>
          <a:lstStyle/>
          <a:p>
            <a:pPr algn="ctr"/>
            <a:r>
              <a:rPr lang="en-US" dirty="0">
                <a:solidFill>
                  <a:schemeClr val="bg1"/>
                </a:solidFill>
              </a:rPr>
              <a:t>ADVANCED</a:t>
            </a:r>
          </a:p>
        </p:txBody>
      </p:sp>
      <p:sp>
        <p:nvSpPr>
          <p:cNvPr id="14" name="TextBox 13"/>
          <p:cNvSpPr txBox="1"/>
          <p:nvPr/>
        </p:nvSpPr>
        <p:spPr>
          <a:xfrm>
            <a:off x="5560104" y="3868223"/>
            <a:ext cx="3577847" cy="1012585"/>
          </a:xfrm>
          <a:prstGeom prst="rect">
            <a:avLst/>
          </a:prstGeom>
          <a:noFill/>
        </p:spPr>
        <p:txBody>
          <a:bodyPr wrap="square" rtlCol="0">
            <a:spAutoFit/>
          </a:bodyPr>
          <a:lstStyle/>
          <a:p>
            <a:pPr marL="285750" indent="-285750" eaLnBrk="0" hangingPunct="0">
              <a:spcBef>
                <a:spcPct val="20000"/>
              </a:spcBef>
              <a:buFont typeface="Wingdings" charset="2"/>
              <a:buChar char="§"/>
            </a:pPr>
            <a:r>
              <a:rPr lang="en-US" sz="1300" dirty="0">
                <a:solidFill>
                  <a:schemeClr val="bg1"/>
                </a:solidFill>
              </a:rPr>
              <a:t>SAFe</a:t>
            </a:r>
            <a:r>
              <a:rPr lang="en-US" sz="1300" baseline="30000" dirty="0">
                <a:solidFill>
                  <a:schemeClr val="bg1"/>
                </a:solidFill>
              </a:rPr>
              <a:t>®</a:t>
            </a:r>
            <a:r>
              <a:rPr lang="en-US" sz="1300" dirty="0">
                <a:solidFill>
                  <a:schemeClr val="bg1"/>
                </a:solidFill>
              </a:rPr>
              <a:t> Advanced Scrum Master</a:t>
            </a:r>
          </a:p>
          <a:p>
            <a:pPr marL="285750" indent="-285750" eaLnBrk="0" hangingPunct="0">
              <a:spcBef>
                <a:spcPct val="20000"/>
              </a:spcBef>
              <a:buFont typeface="Wingdings" charset="2"/>
              <a:buChar char="§"/>
            </a:pPr>
            <a:r>
              <a:rPr lang="en-US" sz="1300" dirty="0">
                <a:solidFill>
                  <a:schemeClr val="bg1"/>
                </a:solidFill>
              </a:rPr>
              <a:t>Implementing SAFe</a:t>
            </a:r>
            <a:r>
              <a:rPr lang="en-US" sz="1300" baseline="30000" dirty="0">
                <a:solidFill>
                  <a:schemeClr val="bg1"/>
                </a:solidFill>
              </a:rPr>
              <a:t>®</a:t>
            </a:r>
            <a:r>
              <a:rPr lang="en-US" sz="1300" dirty="0">
                <a:solidFill>
                  <a:schemeClr val="bg1"/>
                </a:solidFill>
              </a:rPr>
              <a:t> </a:t>
            </a:r>
          </a:p>
          <a:p>
            <a:pPr marL="285750" indent="-285750" eaLnBrk="0" hangingPunct="0">
              <a:spcBef>
                <a:spcPct val="20000"/>
              </a:spcBef>
              <a:buFont typeface="Wingdings" charset="2"/>
              <a:buChar char="§"/>
            </a:pPr>
            <a:r>
              <a:rPr lang="en-US" sz="1300" dirty="0">
                <a:solidFill>
                  <a:schemeClr val="bg1"/>
                </a:solidFill>
              </a:rPr>
              <a:t>SAFe</a:t>
            </a:r>
            <a:r>
              <a:rPr lang="en-US" sz="1300" baseline="30000" dirty="0">
                <a:solidFill>
                  <a:schemeClr val="bg1"/>
                </a:solidFill>
              </a:rPr>
              <a:t>®</a:t>
            </a:r>
            <a:r>
              <a:rPr lang="en-US" sz="1300" dirty="0">
                <a:solidFill>
                  <a:schemeClr val="bg1"/>
                </a:solidFill>
              </a:rPr>
              <a:t> Release Train Engineer</a:t>
            </a:r>
          </a:p>
          <a:p>
            <a:pPr marL="285750" indent="-285750" eaLnBrk="0" hangingPunct="0">
              <a:spcBef>
                <a:spcPct val="20000"/>
              </a:spcBef>
              <a:buFont typeface="Wingdings" charset="2"/>
              <a:buChar char="§"/>
            </a:pPr>
            <a:r>
              <a:rPr lang="en-US" sz="1300" i="1" dirty="0">
                <a:solidFill>
                  <a:schemeClr val="bg1"/>
                </a:solidFill>
              </a:rPr>
              <a:t>More courses in development</a:t>
            </a:r>
            <a:r>
              <a:rPr lang="en-US" sz="1300" dirty="0">
                <a:solidFill>
                  <a:schemeClr val="bg1"/>
                </a:solidFill>
              </a:rPr>
              <a:t>! </a:t>
            </a:r>
          </a:p>
        </p:txBody>
      </p:sp>
      <p:sp>
        <p:nvSpPr>
          <p:cNvPr id="23" name="TextBox 22"/>
          <p:cNvSpPr txBox="1"/>
          <p:nvPr/>
        </p:nvSpPr>
        <p:spPr>
          <a:xfrm>
            <a:off x="5310329" y="495287"/>
            <a:ext cx="3675173" cy="834074"/>
          </a:xfrm>
          <a:prstGeom prst="rect">
            <a:avLst/>
          </a:prstGeom>
          <a:noFill/>
        </p:spPr>
        <p:txBody>
          <a:bodyPr wrap="square" rtlCol="0">
            <a:spAutoFit/>
          </a:bodyPr>
          <a:lstStyle/>
          <a:p>
            <a:pPr>
              <a:lnSpc>
                <a:spcPct val="120000"/>
              </a:lnSpc>
            </a:pPr>
            <a:r>
              <a:rPr lang="en-US" sz="2000" b="1" dirty="0">
                <a:solidFill>
                  <a:schemeClr val="accent3"/>
                </a:solidFill>
              </a:rPr>
              <a:t>scaledagile.com/learning</a:t>
            </a:r>
            <a:endParaRPr lang="en-US" sz="2000" dirty="0">
              <a:solidFill>
                <a:schemeClr val="accent3"/>
              </a:solidFill>
            </a:endParaRPr>
          </a:p>
          <a:p>
            <a:r>
              <a:rPr lang="en-US" sz="500" b="1" dirty="0">
                <a:solidFill>
                  <a:schemeClr val="bg1"/>
                </a:solidFill>
              </a:rPr>
              <a:t> </a:t>
            </a:r>
          </a:p>
          <a:p>
            <a:pPr>
              <a:lnSpc>
                <a:spcPct val="120000"/>
              </a:lnSpc>
            </a:pPr>
            <a:r>
              <a:rPr lang="en-US" sz="1600" dirty="0">
                <a:solidFill>
                  <a:schemeClr val="bg1"/>
                </a:solidFill>
              </a:rPr>
              <a:t>Scaled Agile’s role-based curriculum:</a:t>
            </a:r>
            <a:endParaRPr lang="en-US" sz="1600" b="1" dirty="0">
              <a:solidFill>
                <a:schemeClr val="bg1"/>
              </a:solidFill>
            </a:endParaRPr>
          </a:p>
        </p:txBody>
      </p:sp>
      <p:pic>
        <p:nvPicPr>
          <p:cNvPr id="8" name="Picture 7"/>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 y="0"/>
            <a:ext cx="5117497" cy="4835611"/>
          </a:xfrm>
          <a:prstGeom prst="rect">
            <a:avLst/>
          </a:prstGeom>
        </p:spPr>
      </p:pic>
      <p:sp>
        <p:nvSpPr>
          <p:cNvPr id="21" name="TextBox 20"/>
          <p:cNvSpPr txBox="1"/>
          <p:nvPr/>
        </p:nvSpPr>
        <p:spPr>
          <a:xfrm>
            <a:off x="397762" y="292608"/>
            <a:ext cx="7724746" cy="553998"/>
          </a:xfrm>
          <a:prstGeom prst="rect">
            <a:avLst/>
          </a:prstGeom>
          <a:noFill/>
        </p:spPr>
        <p:txBody>
          <a:bodyPr wrap="square" rtlCol="0">
            <a:spAutoFit/>
          </a:bodyPr>
          <a:lstStyle/>
          <a:p>
            <a:pPr algn="l"/>
            <a:r>
              <a:rPr lang="en-US" sz="3000" b="1" dirty="0"/>
              <a:t>Educate yourself</a:t>
            </a:r>
          </a:p>
        </p:txBody>
      </p:sp>
      <p:pic>
        <p:nvPicPr>
          <p:cNvPr id="3" name="Picture 2">
            <a:extLst>
              <a:ext uri="{FF2B5EF4-FFF2-40B4-BE49-F238E27FC236}">
                <a16:creationId xmlns:a16="http://schemas.microsoft.com/office/drawing/2014/main" id="{DCC32B1C-45DE-C944-9989-3FA585CC95B7}"/>
              </a:ext>
            </a:extLst>
          </p:cNvPr>
          <p:cNvPicPr>
            <a:picLocks noChangeAspect="1"/>
          </p:cNvPicPr>
          <p:nvPr/>
        </p:nvPicPr>
        <p:blipFill>
          <a:blip r:embed="rId4"/>
          <a:stretch>
            <a:fillRect/>
          </a:stretch>
        </p:blipFill>
        <p:spPr>
          <a:xfrm>
            <a:off x="59124" y="846606"/>
            <a:ext cx="4607610" cy="4263652"/>
          </a:xfrm>
          <a:prstGeom prst="rect">
            <a:avLst/>
          </a:prstGeom>
        </p:spPr>
      </p:pic>
    </p:spTree>
    <p:extLst>
      <p:ext uri="{BB962C8B-B14F-4D97-AF65-F5344CB8AC3E}">
        <p14:creationId xmlns:p14="http://schemas.microsoft.com/office/powerpoint/2010/main" val="411503126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4563763" y="0"/>
            <a:ext cx="4580237" cy="5148072"/>
          </a:xfrm>
          <a:prstGeom prst="rect">
            <a:avLst/>
          </a:prstGeom>
          <a:solidFill>
            <a:schemeClr val="accent1"/>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l" eaLnBrk="0" hangingPunct="0">
              <a:spcBef>
                <a:spcPct val="20000"/>
              </a:spcBef>
            </a:pPr>
            <a:endParaRPr lang="en-US" sz="2200" i="1" dirty="0"/>
          </a:p>
        </p:txBody>
      </p:sp>
      <p:sp>
        <p:nvSpPr>
          <p:cNvPr id="6" name="TextBox 5"/>
          <p:cNvSpPr txBox="1"/>
          <p:nvPr/>
        </p:nvSpPr>
        <p:spPr>
          <a:xfrm>
            <a:off x="5025081" y="661591"/>
            <a:ext cx="3674076" cy="1728344"/>
          </a:xfrm>
          <a:prstGeom prst="rect">
            <a:avLst/>
          </a:prstGeom>
          <a:noFill/>
        </p:spPr>
        <p:txBody>
          <a:bodyPr wrap="square" rtlCol="0">
            <a:noAutofit/>
          </a:bodyPr>
          <a:lstStyle/>
          <a:p>
            <a:pPr>
              <a:lnSpc>
                <a:spcPts val="2320"/>
              </a:lnSpc>
            </a:pPr>
            <a:r>
              <a:rPr lang="en-US" sz="1600" dirty="0">
                <a:solidFill>
                  <a:schemeClr val="bg1"/>
                </a:solidFill>
              </a:rPr>
              <a:t>Connect with the global SAFe community to advance learning through the SAFe Community Platform (accessible to those who certify), webinars, conferences, and worldwide SAFe Meetups in places like Mumbai, Paris, Chicago, and Mexico City.</a:t>
            </a:r>
          </a:p>
          <a:p>
            <a:pPr>
              <a:lnSpc>
                <a:spcPts val="2320"/>
              </a:lnSpc>
            </a:pPr>
            <a:endParaRPr lang="en-US" sz="1600" dirty="0">
              <a:solidFill>
                <a:schemeClr val="bg1"/>
              </a:solidFill>
            </a:endParaRPr>
          </a:p>
          <a:p>
            <a:pPr>
              <a:lnSpc>
                <a:spcPts val="1720"/>
              </a:lnSpc>
            </a:pPr>
            <a:r>
              <a:rPr lang="en-US" sz="1300" dirty="0">
                <a:solidFill>
                  <a:schemeClr val="bg1"/>
                </a:solidFill>
              </a:rPr>
              <a:t>To find a SAFe Meetup near you, go to </a:t>
            </a:r>
            <a:r>
              <a:rPr lang="en-US" sz="1300" b="1" dirty="0">
                <a:solidFill>
                  <a:schemeClr val="accent3"/>
                </a:solidFill>
              </a:rPr>
              <a:t>scaledagile.com/calendar</a:t>
            </a:r>
            <a:r>
              <a:rPr lang="en-US" sz="1300" dirty="0">
                <a:solidFill>
                  <a:schemeClr val="bg1"/>
                </a:solidFill>
              </a:rPr>
              <a:t> and select </a:t>
            </a:r>
            <a:r>
              <a:rPr lang="en-US" sz="1300" dirty="0">
                <a:solidFill>
                  <a:schemeClr val="accent3"/>
                </a:solidFill>
              </a:rPr>
              <a:t>SAFe Meetup</a:t>
            </a:r>
            <a:r>
              <a:rPr lang="en-US" sz="1300" dirty="0">
                <a:solidFill>
                  <a:schemeClr val="bg1"/>
                </a:solidFill>
              </a:rPr>
              <a:t> from the </a:t>
            </a:r>
            <a:r>
              <a:rPr lang="en-US" sz="1300" i="1" dirty="0">
                <a:solidFill>
                  <a:schemeClr val="bg1"/>
                </a:solidFill>
              </a:rPr>
              <a:t>Event Type </a:t>
            </a:r>
            <a:r>
              <a:rPr lang="en-US" sz="1300" dirty="0">
                <a:solidFill>
                  <a:schemeClr val="bg1"/>
                </a:solidFill>
              </a:rPr>
              <a:t>dropdown menu.</a:t>
            </a:r>
          </a:p>
          <a:p>
            <a:pPr>
              <a:lnSpc>
                <a:spcPts val="1720"/>
              </a:lnSpc>
            </a:pPr>
            <a:endParaRPr lang="en-US" sz="1300" dirty="0">
              <a:solidFill>
                <a:schemeClr val="bg1"/>
              </a:solidFill>
            </a:endParaRPr>
          </a:p>
          <a:p>
            <a:pPr>
              <a:lnSpc>
                <a:spcPts val="1720"/>
              </a:lnSpc>
            </a:pPr>
            <a:r>
              <a:rPr lang="en-US" sz="1300" dirty="0">
                <a:solidFill>
                  <a:schemeClr val="bg1"/>
                </a:solidFill>
              </a:rPr>
              <a:t>Attend the world’s largest gathering of SAFe professionals at the Global and Regional SAFe Summit events. Details at </a:t>
            </a:r>
            <a:r>
              <a:rPr lang="en-US" sz="1300" b="1" dirty="0" err="1">
                <a:solidFill>
                  <a:schemeClr val="accent3"/>
                </a:solidFill>
              </a:rPr>
              <a:t>safesummit.com</a:t>
            </a:r>
            <a:r>
              <a:rPr lang="en-US" sz="1300" dirty="0">
                <a:solidFill>
                  <a:schemeClr val="bg1"/>
                </a:solidFill>
              </a:rPr>
              <a:t>.</a:t>
            </a:r>
          </a:p>
          <a:p>
            <a:pPr>
              <a:lnSpc>
                <a:spcPts val="1720"/>
              </a:lnSpc>
            </a:pPr>
            <a:endParaRPr lang="en-US" sz="1300" dirty="0">
              <a:solidFill>
                <a:schemeClr val="bg1"/>
              </a:solidFill>
            </a:endParaRPr>
          </a:p>
        </p:txBody>
      </p:sp>
      <p:sp>
        <p:nvSpPr>
          <p:cNvPr id="4" name="TextBox 3"/>
          <p:cNvSpPr txBox="1"/>
          <p:nvPr/>
        </p:nvSpPr>
        <p:spPr>
          <a:xfrm>
            <a:off x="397762" y="793103"/>
            <a:ext cx="7724746" cy="1015663"/>
          </a:xfrm>
          <a:prstGeom prst="rect">
            <a:avLst/>
          </a:prstGeom>
          <a:noFill/>
        </p:spPr>
        <p:txBody>
          <a:bodyPr wrap="square" rtlCol="0">
            <a:spAutoFit/>
          </a:bodyPr>
          <a:lstStyle/>
          <a:p>
            <a:pPr algn="l"/>
            <a:r>
              <a:rPr lang="en-US" sz="3000" b="1" dirty="0"/>
              <a:t>Learn from the</a:t>
            </a:r>
          </a:p>
          <a:p>
            <a:pPr algn="l"/>
            <a:r>
              <a:rPr lang="en-US" sz="3000" b="1" dirty="0"/>
              <a:t>community</a:t>
            </a:r>
          </a:p>
        </p:txBody>
      </p:sp>
      <p:pic>
        <p:nvPicPr>
          <p:cNvPr id="11" name="Picture 10"/>
          <p:cNvPicPr>
            <a:picLocks noChangeAspect="1"/>
          </p:cNvPicPr>
          <p:nvPr/>
        </p:nvPicPr>
        <p:blipFill>
          <a:blip r:embed="rId3" cstate="print">
            <a:alphaModFix amt="23000"/>
            <a:extLst>
              <a:ext uri="{28A0092B-C50C-407E-A947-70E740481C1C}">
                <a14:useLocalDpi xmlns:a14="http://schemas.microsoft.com/office/drawing/2010/main"/>
              </a:ext>
            </a:extLst>
          </a:blip>
          <a:stretch>
            <a:fillRect/>
          </a:stretch>
        </p:blipFill>
        <p:spPr>
          <a:xfrm>
            <a:off x="89710" y="2389935"/>
            <a:ext cx="4349578" cy="2079232"/>
          </a:xfrm>
          <a:prstGeom prst="rect">
            <a:avLst/>
          </a:prstGeom>
        </p:spPr>
      </p:pic>
      <p:sp>
        <p:nvSpPr>
          <p:cNvPr id="7" name="TextBox 6"/>
          <p:cNvSpPr txBox="1"/>
          <p:nvPr/>
        </p:nvSpPr>
        <p:spPr>
          <a:xfrm>
            <a:off x="558524" y="2465384"/>
            <a:ext cx="2628668" cy="1184940"/>
          </a:xfrm>
          <a:prstGeom prst="rect">
            <a:avLst/>
          </a:prstGeom>
          <a:noFill/>
        </p:spPr>
        <p:txBody>
          <a:bodyPr wrap="square" rtlCol="0">
            <a:spAutoFit/>
          </a:bodyPr>
          <a:lstStyle/>
          <a:p>
            <a:r>
              <a:rPr lang="en-US" sz="4500" dirty="0">
                <a:solidFill>
                  <a:schemeClr val="accent1"/>
                </a:solidFill>
              </a:rPr>
              <a:t>250,000+ </a:t>
            </a:r>
          </a:p>
          <a:p>
            <a:r>
              <a:rPr lang="en-US" sz="2600" dirty="0">
                <a:solidFill>
                  <a:schemeClr val="accent1"/>
                </a:solidFill>
              </a:rPr>
              <a:t>trained in SAFe </a:t>
            </a:r>
          </a:p>
        </p:txBody>
      </p:sp>
      <p:pic>
        <p:nvPicPr>
          <p:cNvPr id="12" name="Picture 11" descr="cert_mark_SAFe_certified_large_300px.png"/>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207033" y="2579454"/>
            <a:ext cx="882954" cy="882954"/>
          </a:xfrm>
          <a:prstGeom prst="rect">
            <a:avLst/>
          </a:prstGeom>
        </p:spPr>
      </p:pic>
    </p:spTree>
    <p:extLst>
      <p:ext uri="{BB962C8B-B14F-4D97-AF65-F5344CB8AC3E}">
        <p14:creationId xmlns:p14="http://schemas.microsoft.com/office/powerpoint/2010/main" val="215382235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print">
            <a:alphaModFix amt="36000"/>
            <a:extLst>
              <a:ext uri="{BEBA8EAE-BF5A-486C-A8C5-ECC9F3942E4B}">
                <a14:imgProps xmlns:a14="http://schemas.microsoft.com/office/drawing/2010/main">
                  <a14:imgLayer r:embed="rId4">
                    <a14:imgEffect>
                      <a14:sharpenSoften amount="3000"/>
                    </a14:imgEffect>
                  </a14:imgLayer>
                </a14:imgProps>
              </a:ext>
              <a:ext uri="{28A0092B-C50C-407E-A947-70E740481C1C}">
                <a14:useLocalDpi xmlns:a14="http://schemas.microsoft.com/office/drawing/2010/main"/>
              </a:ext>
            </a:extLst>
          </a:blip>
          <a:srcRect/>
          <a:stretch/>
        </p:blipFill>
        <p:spPr>
          <a:xfrm>
            <a:off x="3605921" y="1109891"/>
            <a:ext cx="5538080" cy="2795536"/>
          </a:xfrm>
          <a:prstGeom prst="rect">
            <a:avLst/>
          </a:prstGeom>
        </p:spPr>
      </p:pic>
      <p:sp>
        <p:nvSpPr>
          <p:cNvPr id="3" name="Content Placeholder 2"/>
          <p:cNvSpPr>
            <a:spLocks noGrp="1"/>
          </p:cNvSpPr>
          <p:nvPr>
            <p:ph idx="4294967295"/>
          </p:nvPr>
        </p:nvSpPr>
        <p:spPr>
          <a:xfrm>
            <a:off x="0" y="685800"/>
            <a:ext cx="4386263" cy="1760538"/>
          </a:xfrm>
          <a:noFill/>
          <a:ln w="9525">
            <a:noFill/>
            <a:miter lim="800000"/>
            <a:headEnd/>
            <a:tailEnd/>
          </a:ln>
        </p:spPr>
        <p:txBody>
          <a:bodyPr vert="horz" wrap="square" lIns="0" tIns="0" rIns="0" bIns="0" numCol="1" anchor="t" anchorCtr="0" compatLnSpc="1">
            <a:prstTxWarp prst="textNoShape">
              <a:avLst/>
            </a:prstTxWarp>
            <a:noAutofit/>
          </a:bodyPr>
          <a:lstStyle/>
          <a:p>
            <a:pPr marL="0" indent="0">
              <a:spcBef>
                <a:spcPts val="600"/>
              </a:spcBef>
              <a:spcAft>
                <a:spcPts val="600"/>
              </a:spcAft>
              <a:buNone/>
            </a:pPr>
            <a:endParaRPr lang="en-US" sz="1400" b="1" dirty="0"/>
          </a:p>
          <a:p>
            <a:pPr marL="0" indent="0">
              <a:spcBef>
                <a:spcPts val="600"/>
              </a:spcBef>
              <a:spcAft>
                <a:spcPts val="600"/>
              </a:spcAft>
              <a:buNone/>
            </a:pPr>
            <a:endParaRPr lang="en-US" sz="1400" dirty="0"/>
          </a:p>
          <a:p>
            <a:pPr marL="0" indent="0">
              <a:spcBef>
                <a:spcPts val="600"/>
              </a:spcBef>
              <a:spcAft>
                <a:spcPts val="600"/>
              </a:spcAft>
              <a:buNone/>
            </a:pPr>
            <a:endParaRPr lang="en-US" sz="1600" dirty="0"/>
          </a:p>
          <a:p>
            <a:pPr marL="0" indent="0">
              <a:spcBef>
                <a:spcPts val="600"/>
              </a:spcBef>
              <a:spcAft>
                <a:spcPts val="600"/>
              </a:spcAft>
              <a:buNone/>
            </a:pPr>
            <a:endParaRPr lang="en-US" sz="1600" dirty="0"/>
          </a:p>
          <a:p>
            <a:pPr marL="0" indent="0">
              <a:spcBef>
                <a:spcPts val="600"/>
              </a:spcBef>
              <a:spcAft>
                <a:spcPts val="600"/>
              </a:spcAft>
              <a:buNone/>
            </a:pPr>
            <a:endParaRPr lang="en-US" sz="1800" dirty="0">
              <a:solidFill>
                <a:schemeClr val="tx1"/>
              </a:solidFill>
            </a:endParaRPr>
          </a:p>
          <a:p>
            <a:pPr marL="0" indent="0">
              <a:spcBef>
                <a:spcPts val="600"/>
              </a:spcBef>
              <a:spcAft>
                <a:spcPts val="600"/>
              </a:spcAft>
              <a:buNone/>
            </a:pPr>
            <a:endParaRPr lang="en-US" sz="1800" dirty="0">
              <a:solidFill>
                <a:schemeClr val="tx1"/>
              </a:solidFill>
            </a:endParaRPr>
          </a:p>
        </p:txBody>
      </p:sp>
      <p:sp>
        <p:nvSpPr>
          <p:cNvPr id="7" name="TextBox 6"/>
          <p:cNvSpPr txBox="1"/>
          <p:nvPr/>
        </p:nvSpPr>
        <p:spPr>
          <a:xfrm>
            <a:off x="397762" y="1701463"/>
            <a:ext cx="3583688" cy="2980303"/>
          </a:xfrm>
          <a:prstGeom prst="rect">
            <a:avLst/>
          </a:prstGeom>
          <a:noFill/>
        </p:spPr>
        <p:txBody>
          <a:bodyPr wrap="square" rtlCol="0">
            <a:spAutoFit/>
          </a:bodyPr>
          <a:lstStyle/>
          <a:p>
            <a:pPr>
              <a:lnSpc>
                <a:spcPts val="2320"/>
              </a:lnSpc>
            </a:pPr>
            <a:r>
              <a:rPr lang="en-US" sz="1600" dirty="0"/>
              <a:t>Access worldwide SAFe expertise and support through the Scaled Agile Partner Network: </a:t>
            </a:r>
          </a:p>
          <a:p>
            <a:endParaRPr lang="en-US" sz="1600" dirty="0"/>
          </a:p>
          <a:p>
            <a:pPr marL="285750" indent="-285750">
              <a:spcBef>
                <a:spcPts val="600"/>
              </a:spcBef>
              <a:spcAft>
                <a:spcPts val="600"/>
              </a:spcAft>
              <a:buFont typeface="Arial" charset="0"/>
              <a:buChar char="•"/>
            </a:pPr>
            <a:r>
              <a:rPr lang="en-US" sz="1300" dirty="0"/>
              <a:t>Training and coaching for all SAFe roles </a:t>
            </a:r>
          </a:p>
          <a:p>
            <a:pPr marL="285750" indent="-285750">
              <a:spcBef>
                <a:spcPts val="600"/>
              </a:spcBef>
              <a:spcAft>
                <a:spcPts val="600"/>
              </a:spcAft>
              <a:buFont typeface="Arial" charset="0"/>
              <a:buChar char="•"/>
            </a:pPr>
            <a:r>
              <a:rPr lang="en-US" sz="1300" dirty="0"/>
              <a:t>Implementation and consulting services across industries and disciplines</a:t>
            </a:r>
          </a:p>
          <a:p>
            <a:pPr marL="285750" indent="-285750" fontAlgn="t">
              <a:spcBef>
                <a:spcPts val="600"/>
              </a:spcBef>
              <a:spcAft>
                <a:spcPts val="600"/>
              </a:spcAft>
              <a:buFont typeface="Arial" charset="0"/>
              <a:buChar char="•"/>
            </a:pPr>
            <a:r>
              <a:rPr lang="en-US" sz="1300" dirty="0"/>
              <a:t>Platforms for SAFe automation, visibility, and flow</a:t>
            </a:r>
          </a:p>
          <a:p>
            <a:pPr marL="285750" indent="-285750">
              <a:lnSpc>
                <a:spcPts val="2320"/>
              </a:lnSpc>
              <a:buFont typeface="Arial" charset="0"/>
              <a:buChar char="•"/>
            </a:pPr>
            <a:endParaRPr lang="en-US" sz="1600" dirty="0"/>
          </a:p>
        </p:txBody>
      </p:sp>
      <p:sp>
        <p:nvSpPr>
          <p:cNvPr id="9" name="TextBox 8"/>
          <p:cNvSpPr txBox="1"/>
          <p:nvPr/>
        </p:nvSpPr>
        <p:spPr>
          <a:xfrm>
            <a:off x="397762" y="470282"/>
            <a:ext cx="7724746" cy="1015663"/>
          </a:xfrm>
          <a:prstGeom prst="rect">
            <a:avLst/>
          </a:prstGeom>
          <a:noFill/>
        </p:spPr>
        <p:txBody>
          <a:bodyPr wrap="square" rtlCol="0">
            <a:spAutoFit/>
          </a:bodyPr>
          <a:lstStyle/>
          <a:p>
            <a:pPr algn="l"/>
            <a:r>
              <a:rPr lang="en-US" sz="3000" b="1" dirty="0"/>
              <a:t>Get help </a:t>
            </a:r>
          </a:p>
          <a:p>
            <a:pPr algn="l"/>
            <a:r>
              <a:rPr lang="en-US" sz="3000" b="1" dirty="0"/>
              <a:t>to ensure success</a:t>
            </a:r>
          </a:p>
        </p:txBody>
      </p:sp>
      <p:pic>
        <p:nvPicPr>
          <p:cNvPr id="11" name="Picture 10"/>
          <p:cNvPicPr>
            <a:picLocks noChangeAspect="1"/>
          </p:cNvPicPr>
          <p:nvPr/>
        </p:nvPicPr>
        <p:blipFill rotWithShape="1">
          <a:blip r:embed="rId5" cstate="print">
            <a:extLst>
              <a:ext uri="{28A0092B-C50C-407E-A947-70E740481C1C}">
                <a14:useLocalDpi xmlns:a14="http://schemas.microsoft.com/office/drawing/2010/main"/>
              </a:ext>
            </a:extLst>
          </a:blip>
          <a:srcRect l="27985" t="33181" r="28056" b="42254"/>
          <a:stretch/>
        </p:blipFill>
        <p:spPr>
          <a:xfrm>
            <a:off x="5446826" y="3782577"/>
            <a:ext cx="2321733" cy="976685"/>
          </a:xfrm>
          <a:prstGeom prst="rect">
            <a:avLst/>
          </a:prstGeom>
        </p:spPr>
      </p:pic>
      <p:sp>
        <p:nvSpPr>
          <p:cNvPr id="5" name="TextBox 4"/>
          <p:cNvSpPr txBox="1"/>
          <p:nvPr/>
        </p:nvSpPr>
        <p:spPr>
          <a:xfrm>
            <a:off x="5040166" y="1904945"/>
            <a:ext cx="3135052" cy="1754326"/>
          </a:xfrm>
          <a:prstGeom prst="rect">
            <a:avLst/>
          </a:prstGeom>
          <a:noFill/>
        </p:spPr>
        <p:txBody>
          <a:bodyPr wrap="square" rtlCol="0">
            <a:spAutoFit/>
          </a:bodyPr>
          <a:lstStyle/>
          <a:p>
            <a:pPr algn="ctr"/>
            <a:r>
              <a:rPr lang="en-US" sz="4500" dirty="0">
                <a:solidFill>
                  <a:schemeClr val="accent1"/>
                </a:solidFill>
              </a:rPr>
              <a:t>180+</a:t>
            </a:r>
            <a:br>
              <a:rPr lang="en-US" sz="4500" dirty="0">
                <a:solidFill>
                  <a:schemeClr val="accent1"/>
                </a:solidFill>
              </a:rPr>
            </a:br>
            <a:r>
              <a:rPr lang="en-US" sz="4500" dirty="0">
                <a:solidFill>
                  <a:schemeClr val="accent1"/>
                </a:solidFill>
              </a:rPr>
              <a:t>Partners</a:t>
            </a:r>
            <a:br>
              <a:rPr lang="en-US" sz="4500" dirty="0">
                <a:solidFill>
                  <a:schemeClr val="accent1"/>
                </a:solidFill>
              </a:rPr>
            </a:br>
            <a:r>
              <a:rPr lang="en-US" dirty="0">
                <a:solidFill>
                  <a:schemeClr val="accent1"/>
                </a:solidFill>
              </a:rPr>
              <a:t>in 50 countries &amp; 350 cities</a:t>
            </a:r>
          </a:p>
        </p:txBody>
      </p:sp>
      <p:sp>
        <p:nvSpPr>
          <p:cNvPr id="13" name="TextBox 12"/>
          <p:cNvSpPr txBox="1"/>
          <p:nvPr/>
        </p:nvSpPr>
        <p:spPr>
          <a:xfrm>
            <a:off x="4336577" y="599049"/>
            <a:ext cx="4542230" cy="427746"/>
          </a:xfrm>
          <a:prstGeom prst="rect">
            <a:avLst/>
          </a:prstGeom>
          <a:noFill/>
        </p:spPr>
        <p:txBody>
          <a:bodyPr wrap="square" rtlCol="0">
            <a:spAutoFit/>
          </a:bodyPr>
          <a:lstStyle/>
          <a:p>
            <a:pPr algn="ctr">
              <a:lnSpc>
                <a:spcPct val="120000"/>
              </a:lnSpc>
            </a:pPr>
            <a:r>
              <a:rPr lang="en-US" sz="2000" b="1" dirty="0">
                <a:solidFill>
                  <a:schemeClr val="accent3">
                    <a:lumMod val="75000"/>
                  </a:schemeClr>
                </a:solidFill>
              </a:rPr>
              <a:t>scaledagile.com/partner-directory</a:t>
            </a:r>
            <a:endParaRPr lang="en-US" sz="500" b="1" dirty="0">
              <a:solidFill>
                <a:schemeClr val="accent3">
                  <a:lumMod val="75000"/>
                </a:schemeClr>
              </a:solidFill>
            </a:endParaRPr>
          </a:p>
        </p:txBody>
      </p:sp>
    </p:spTree>
    <p:extLst>
      <p:ext uri="{BB962C8B-B14F-4D97-AF65-F5344CB8AC3E}">
        <p14:creationId xmlns:p14="http://schemas.microsoft.com/office/powerpoint/2010/main" val="3966099999"/>
      </p:ext>
    </p:extLst>
  </p:cSld>
  <p:clrMapOvr>
    <a:masterClrMapping/>
  </p:clrMapOvr>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4563763" y="0"/>
            <a:ext cx="4581144" cy="5148072"/>
          </a:xfrm>
          <a:prstGeom prst="rect">
            <a:avLst/>
          </a:prstGeom>
          <a:solidFill>
            <a:schemeClr val="accent1"/>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l" eaLnBrk="0" hangingPunct="0">
              <a:spcBef>
                <a:spcPct val="20000"/>
              </a:spcBef>
            </a:pPr>
            <a:endParaRPr lang="en-US" sz="2200" i="1" dirty="0"/>
          </a:p>
        </p:txBody>
      </p:sp>
      <p:sp>
        <p:nvSpPr>
          <p:cNvPr id="6" name="TextBox 5"/>
          <p:cNvSpPr txBox="1"/>
          <p:nvPr/>
        </p:nvSpPr>
        <p:spPr>
          <a:xfrm>
            <a:off x="5335043" y="1914601"/>
            <a:ext cx="2660821" cy="1728344"/>
          </a:xfrm>
          <a:prstGeom prst="rect">
            <a:avLst/>
          </a:prstGeom>
          <a:noFill/>
        </p:spPr>
        <p:txBody>
          <a:bodyPr wrap="square" rtlCol="0">
            <a:noAutofit/>
          </a:bodyPr>
          <a:lstStyle/>
          <a:p>
            <a:pPr marL="285750" indent="-285750">
              <a:lnSpc>
                <a:spcPct val="120000"/>
              </a:lnSpc>
              <a:spcAft>
                <a:spcPts val="600"/>
              </a:spcAft>
              <a:buFont typeface="Wingdings" charset="2"/>
              <a:buChar char="§"/>
            </a:pPr>
            <a:r>
              <a:rPr lang="en-US" sz="1600" dirty="0">
                <a:solidFill>
                  <a:schemeClr val="bg1"/>
                </a:solidFill>
              </a:rPr>
              <a:t>Articles</a:t>
            </a:r>
          </a:p>
          <a:p>
            <a:pPr marL="285750" indent="-285750">
              <a:lnSpc>
                <a:spcPct val="120000"/>
              </a:lnSpc>
              <a:spcAft>
                <a:spcPts val="600"/>
              </a:spcAft>
              <a:buFont typeface="Wingdings" charset="2"/>
              <a:buChar char="§"/>
            </a:pPr>
            <a:r>
              <a:rPr lang="en-US" sz="1600" dirty="0">
                <a:solidFill>
                  <a:schemeClr val="bg1"/>
                </a:solidFill>
              </a:rPr>
              <a:t>Guidance</a:t>
            </a:r>
          </a:p>
          <a:p>
            <a:pPr marL="285750" indent="-285750">
              <a:lnSpc>
                <a:spcPct val="120000"/>
              </a:lnSpc>
              <a:spcAft>
                <a:spcPts val="600"/>
              </a:spcAft>
              <a:buFont typeface="Wingdings" charset="2"/>
              <a:buChar char="§"/>
            </a:pPr>
            <a:r>
              <a:rPr lang="en-US" sz="1600" dirty="0">
                <a:solidFill>
                  <a:schemeClr val="bg1"/>
                </a:solidFill>
              </a:rPr>
              <a:t>Presentations</a:t>
            </a:r>
          </a:p>
          <a:p>
            <a:pPr marL="285750" indent="-285750">
              <a:lnSpc>
                <a:spcPct val="120000"/>
              </a:lnSpc>
              <a:spcAft>
                <a:spcPts val="600"/>
              </a:spcAft>
              <a:buFont typeface="Wingdings" charset="2"/>
              <a:buChar char="§"/>
            </a:pPr>
            <a:r>
              <a:rPr lang="en-US" sz="1600" dirty="0">
                <a:solidFill>
                  <a:schemeClr val="bg1"/>
                </a:solidFill>
              </a:rPr>
              <a:t>White papers</a:t>
            </a:r>
          </a:p>
          <a:p>
            <a:pPr marL="285750" indent="-285750">
              <a:lnSpc>
                <a:spcPct val="120000"/>
              </a:lnSpc>
              <a:spcAft>
                <a:spcPts val="600"/>
              </a:spcAft>
              <a:buFont typeface="Wingdings" charset="2"/>
              <a:buChar char="§"/>
            </a:pPr>
            <a:r>
              <a:rPr lang="en-US" sz="1600" dirty="0">
                <a:solidFill>
                  <a:schemeClr val="bg1"/>
                </a:solidFill>
              </a:rPr>
              <a:t>Videos</a:t>
            </a:r>
          </a:p>
          <a:p>
            <a:pPr marL="285750" indent="-285750">
              <a:lnSpc>
                <a:spcPct val="120000"/>
              </a:lnSpc>
              <a:spcAft>
                <a:spcPts val="600"/>
              </a:spcAft>
              <a:buFont typeface="Wingdings" charset="2"/>
              <a:buChar char="§"/>
            </a:pPr>
            <a:r>
              <a:rPr lang="en-US" sz="1600" dirty="0">
                <a:solidFill>
                  <a:schemeClr val="bg1"/>
                </a:solidFill>
              </a:rPr>
              <a:t>Case studies</a:t>
            </a:r>
          </a:p>
        </p:txBody>
      </p:sp>
      <p:pic>
        <p:nvPicPr>
          <p:cNvPr id="5" name="Picture 4" descr="site.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14384" y="1584782"/>
            <a:ext cx="4522662" cy="3286778"/>
          </a:xfrm>
          <a:prstGeom prst="rect">
            <a:avLst/>
          </a:prstGeom>
        </p:spPr>
      </p:pic>
      <p:sp>
        <p:nvSpPr>
          <p:cNvPr id="4" name="TextBox 3"/>
          <p:cNvSpPr txBox="1"/>
          <p:nvPr/>
        </p:nvSpPr>
        <p:spPr>
          <a:xfrm>
            <a:off x="397762" y="292608"/>
            <a:ext cx="7724746" cy="1015663"/>
          </a:xfrm>
          <a:prstGeom prst="rect">
            <a:avLst/>
          </a:prstGeom>
          <a:noFill/>
        </p:spPr>
        <p:txBody>
          <a:bodyPr wrap="square" rtlCol="0">
            <a:spAutoFit/>
          </a:bodyPr>
          <a:lstStyle/>
          <a:p>
            <a:pPr algn="l"/>
            <a:r>
              <a:rPr lang="en-US" sz="3000" b="1" dirty="0"/>
              <a:t>Start your journey: </a:t>
            </a:r>
          </a:p>
          <a:p>
            <a:pPr algn="l"/>
            <a:r>
              <a:rPr lang="en-US" sz="3000" b="1" dirty="0"/>
              <a:t>explore SAFe</a:t>
            </a:r>
          </a:p>
        </p:txBody>
      </p:sp>
      <p:sp>
        <p:nvSpPr>
          <p:cNvPr id="9" name="TextBox 8"/>
          <p:cNvSpPr txBox="1"/>
          <p:nvPr/>
        </p:nvSpPr>
        <p:spPr>
          <a:xfrm>
            <a:off x="5310329" y="600867"/>
            <a:ext cx="3675173" cy="1121333"/>
          </a:xfrm>
          <a:prstGeom prst="rect">
            <a:avLst/>
          </a:prstGeom>
          <a:noFill/>
        </p:spPr>
        <p:txBody>
          <a:bodyPr wrap="square" rtlCol="0">
            <a:spAutoFit/>
          </a:bodyPr>
          <a:lstStyle/>
          <a:p>
            <a:pPr>
              <a:lnSpc>
                <a:spcPct val="120000"/>
              </a:lnSpc>
            </a:pPr>
            <a:r>
              <a:rPr lang="en-US" sz="2000" b="1" dirty="0">
                <a:solidFill>
                  <a:schemeClr val="accent3"/>
                </a:solidFill>
              </a:rPr>
              <a:t>scaledagileframework.com</a:t>
            </a:r>
            <a:endParaRPr lang="en-US" sz="2000" dirty="0">
              <a:solidFill>
                <a:schemeClr val="accent3"/>
              </a:solidFill>
            </a:endParaRPr>
          </a:p>
          <a:p>
            <a:r>
              <a:rPr lang="en-US" sz="500" b="1" dirty="0">
                <a:solidFill>
                  <a:schemeClr val="bg1"/>
                </a:solidFill>
              </a:rPr>
              <a:t> </a:t>
            </a:r>
          </a:p>
          <a:p>
            <a:pPr>
              <a:lnSpc>
                <a:spcPct val="120000"/>
              </a:lnSpc>
            </a:pPr>
            <a:r>
              <a:rPr lang="en-US" sz="1600" dirty="0">
                <a:solidFill>
                  <a:schemeClr val="bg1"/>
                </a:solidFill>
              </a:rPr>
              <a:t>Explore the SAFe knowledge base and find free resources:</a:t>
            </a:r>
            <a:endParaRPr lang="en-US" sz="1600" b="1" dirty="0">
              <a:solidFill>
                <a:schemeClr val="bg1"/>
              </a:solidFill>
            </a:endParaRPr>
          </a:p>
        </p:txBody>
      </p:sp>
    </p:spTree>
    <p:extLst>
      <p:ext uri="{BB962C8B-B14F-4D97-AF65-F5344CB8AC3E}">
        <p14:creationId xmlns:p14="http://schemas.microsoft.com/office/powerpoint/2010/main" val="42407639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4209536" y="0"/>
            <a:ext cx="4934464" cy="5143500"/>
          </a:xfrm>
          <a:prstGeom prst="rect">
            <a:avLst/>
          </a:prstGeom>
          <a:solidFill>
            <a:schemeClr val="accent1"/>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l" eaLnBrk="0" hangingPunct="0">
              <a:spcBef>
                <a:spcPct val="20000"/>
              </a:spcBef>
            </a:pPr>
            <a:endParaRPr lang="en-US" sz="2200" i="1" dirty="0"/>
          </a:p>
        </p:txBody>
      </p:sp>
      <p:pic>
        <p:nvPicPr>
          <p:cNvPr id="29" name="Picture 28">
            <a:extLst>
              <a:ext uri="{FF2B5EF4-FFF2-40B4-BE49-F238E27FC236}">
                <a16:creationId xmlns:a16="http://schemas.microsoft.com/office/drawing/2014/main" id="{0BE549A8-96CA-F04C-A1AA-482821928F68}"/>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7255952" y="604513"/>
            <a:ext cx="1459345" cy="1425339"/>
          </a:xfrm>
          <a:prstGeom prst="rect">
            <a:avLst/>
          </a:prstGeom>
        </p:spPr>
      </p:pic>
      <p:sp>
        <p:nvSpPr>
          <p:cNvPr id="30" name="Snip Single Corner Rectangle 29">
            <a:extLst>
              <a:ext uri="{FF2B5EF4-FFF2-40B4-BE49-F238E27FC236}">
                <a16:creationId xmlns:a16="http://schemas.microsoft.com/office/drawing/2014/main" id="{81E398B0-644F-644F-A840-0065CE9B11E6}"/>
              </a:ext>
            </a:extLst>
          </p:cNvPr>
          <p:cNvSpPr/>
          <p:nvPr/>
        </p:nvSpPr>
        <p:spPr bwMode="auto">
          <a:xfrm>
            <a:off x="7399084" y="919040"/>
            <a:ext cx="1229566" cy="692497"/>
          </a:xfrm>
          <a:prstGeom prst="snip1Rect">
            <a:avLst>
              <a:gd name="adj" fmla="val 0"/>
            </a:avLst>
          </a:prstGeom>
          <a:no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spAutoFit/>
          </a:bodyPr>
          <a:lstStyle/>
          <a:p>
            <a:pPr algn="ctr" eaLnBrk="0" hangingPunct="0">
              <a:spcBef>
                <a:spcPct val="20000"/>
              </a:spcBef>
            </a:pPr>
            <a:r>
              <a:rPr lang="en-US" sz="1200" dirty="0">
                <a:solidFill>
                  <a:schemeClr val="tx2">
                    <a:lumMod val="75000"/>
                    <a:lumOff val="25000"/>
                  </a:schemeClr>
                </a:solidFill>
                <a:latin typeface="Arial Rounded MT Bold" panose="020F0704030504030204" pitchFamily="34" charset="77"/>
                <a:cs typeface="Arial"/>
              </a:rPr>
              <a:t>Problems discovered too late</a:t>
            </a:r>
          </a:p>
        </p:txBody>
      </p:sp>
      <p:sp>
        <p:nvSpPr>
          <p:cNvPr id="23" name="Title 1"/>
          <p:cNvSpPr txBox="1">
            <a:spLocks/>
          </p:cNvSpPr>
          <p:nvPr/>
        </p:nvSpPr>
        <p:spPr bwMode="auto">
          <a:xfrm>
            <a:off x="613370" y="1265288"/>
            <a:ext cx="2531250" cy="1605320"/>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algn="l" rtl="0" eaLnBrk="1" fontAlgn="base" hangingPunct="1">
              <a:spcBef>
                <a:spcPct val="0"/>
              </a:spcBef>
              <a:spcAft>
                <a:spcPct val="0"/>
              </a:spcAft>
              <a:defRPr lang="en-US" altLang="en-US" sz="2400" b="0" dirty="0" smtClean="0">
                <a:solidFill>
                  <a:srgbClr val="565656"/>
                </a:solidFill>
                <a:latin typeface="+mj-lt"/>
                <a:ea typeface="+mj-ea"/>
                <a:cs typeface="+mj-cs"/>
              </a:defRPr>
            </a:lvl1pPr>
            <a:lvl2pPr algn="l" rtl="0" eaLnBrk="1" fontAlgn="base" hangingPunct="1">
              <a:spcBef>
                <a:spcPct val="0"/>
              </a:spcBef>
              <a:spcAft>
                <a:spcPct val="0"/>
              </a:spcAft>
              <a:defRPr sz="2400" b="1">
                <a:solidFill>
                  <a:schemeClr val="tx2"/>
                </a:solidFill>
                <a:latin typeface="Arial" charset="0"/>
                <a:cs typeface="Arial" charset="0"/>
              </a:defRPr>
            </a:lvl2pPr>
            <a:lvl3pPr algn="l" rtl="0" eaLnBrk="1" fontAlgn="base" hangingPunct="1">
              <a:spcBef>
                <a:spcPct val="0"/>
              </a:spcBef>
              <a:spcAft>
                <a:spcPct val="0"/>
              </a:spcAft>
              <a:defRPr sz="2400" b="1">
                <a:solidFill>
                  <a:schemeClr val="tx2"/>
                </a:solidFill>
                <a:latin typeface="Arial" charset="0"/>
                <a:cs typeface="Arial" charset="0"/>
              </a:defRPr>
            </a:lvl3pPr>
            <a:lvl4pPr algn="l" rtl="0" eaLnBrk="1" fontAlgn="base" hangingPunct="1">
              <a:spcBef>
                <a:spcPct val="0"/>
              </a:spcBef>
              <a:spcAft>
                <a:spcPct val="0"/>
              </a:spcAft>
              <a:defRPr sz="2400" b="1">
                <a:solidFill>
                  <a:schemeClr val="tx2"/>
                </a:solidFill>
                <a:latin typeface="Arial" charset="0"/>
                <a:cs typeface="Arial" charset="0"/>
              </a:defRPr>
            </a:lvl4pPr>
            <a:lvl5pPr algn="l" rtl="0" eaLnBrk="1" fontAlgn="base" hangingPunct="1">
              <a:spcBef>
                <a:spcPct val="0"/>
              </a:spcBef>
              <a:spcAft>
                <a:spcPct val="0"/>
              </a:spcAft>
              <a:defRPr sz="2400" b="1">
                <a:solidFill>
                  <a:schemeClr val="tx2"/>
                </a:solidFill>
                <a:latin typeface="Arial" charset="0"/>
                <a:cs typeface="Arial" charset="0"/>
              </a:defRPr>
            </a:lvl5pPr>
            <a:lvl6pPr marL="342900" algn="l" rtl="0" eaLnBrk="1" fontAlgn="base" hangingPunct="1">
              <a:spcBef>
                <a:spcPct val="0"/>
              </a:spcBef>
              <a:spcAft>
                <a:spcPct val="0"/>
              </a:spcAft>
              <a:defRPr sz="2400" b="1">
                <a:solidFill>
                  <a:schemeClr val="tx2"/>
                </a:solidFill>
                <a:latin typeface="Arial" charset="0"/>
                <a:cs typeface="Arial" charset="0"/>
              </a:defRPr>
            </a:lvl6pPr>
            <a:lvl7pPr marL="685800" algn="l" rtl="0" eaLnBrk="1" fontAlgn="base" hangingPunct="1">
              <a:spcBef>
                <a:spcPct val="0"/>
              </a:spcBef>
              <a:spcAft>
                <a:spcPct val="0"/>
              </a:spcAft>
              <a:defRPr sz="2400" b="1">
                <a:solidFill>
                  <a:schemeClr val="tx2"/>
                </a:solidFill>
                <a:latin typeface="Arial" charset="0"/>
                <a:cs typeface="Arial" charset="0"/>
              </a:defRPr>
            </a:lvl7pPr>
            <a:lvl8pPr marL="1028700" algn="l" rtl="0" eaLnBrk="1" fontAlgn="base" hangingPunct="1">
              <a:spcBef>
                <a:spcPct val="0"/>
              </a:spcBef>
              <a:spcAft>
                <a:spcPct val="0"/>
              </a:spcAft>
              <a:defRPr sz="2400" b="1">
                <a:solidFill>
                  <a:schemeClr val="tx2"/>
                </a:solidFill>
                <a:latin typeface="Arial" charset="0"/>
                <a:cs typeface="Arial" charset="0"/>
              </a:defRPr>
            </a:lvl8pPr>
            <a:lvl9pPr marL="1371600" algn="l" rtl="0" eaLnBrk="1" fontAlgn="base" hangingPunct="1">
              <a:spcBef>
                <a:spcPct val="0"/>
              </a:spcBef>
              <a:spcAft>
                <a:spcPct val="0"/>
              </a:spcAft>
              <a:defRPr sz="2400" b="1">
                <a:solidFill>
                  <a:schemeClr val="tx2"/>
                </a:solidFill>
                <a:latin typeface="Arial" charset="0"/>
                <a:cs typeface="Arial" charset="0"/>
              </a:defRPr>
            </a:lvl9pPr>
          </a:lstStyle>
          <a:p>
            <a:pPr>
              <a:lnSpc>
                <a:spcPts val="2940"/>
              </a:lnSpc>
            </a:pPr>
            <a:r>
              <a:rPr lang="en-US" sz="2200" kern="0" dirty="0">
                <a:solidFill>
                  <a:schemeClr val="tx1"/>
                </a:solidFill>
              </a:rPr>
              <a:t>How can we compete when our retrospectives read like this?</a:t>
            </a:r>
          </a:p>
        </p:txBody>
      </p:sp>
      <p:pic>
        <p:nvPicPr>
          <p:cNvPr id="6" name="Picture 5">
            <a:extLst>
              <a:ext uri="{FF2B5EF4-FFF2-40B4-BE49-F238E27FC236}">
                <a16:creationId xmlns:a16="http://schemas.microsoft.com/office/drawing/2014/main" id="{C0ABBDB1-E8CD-0342-A85F-10E7F7E0AFC3}"/>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3718560" y="3088893"/>
            <a:ext cx="1459345" cy="1425339"/>
          </a:xfrm>
          <a:prstGeom prst="rect">
            <a:avLst/>
          </a:prstGeom>
        </p:spPr>
      </p:pic>
      <p:pic>
        <p:nvPicPr>
          <p:cNvPr id="9" name="Picture 8">
            <a:extLst>
              <a:ext uri="{FF2B5EF4-FFF2-40B4-BE49-F238E27FC236}">
                <a16:creationId xmlns:a16="http://schemas.microsoft.com/office/drawing/2014/main" id="{807B20E5-39BD-2D41-9641-7A09DF9BDA3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128125" y="328827"/>
            <a:ext cx="1459345" cy="1425339"/>
          </a:xfrm>
          <a:prstGeom prst="rect">
            <a:avLst/>
          </a:prstGeom>
        </p:spPr>
      </p:pic>
      <p:sp>
        <p:nvSpPr>
          <p:cNvPr id="10" name="Snip Single Corner Rectangle 9">
            <a:extLst>
              <a:ext uri="{FF2B5EF4-FFF2-40B4-BE49-F238E27FC236}">
                <a16:creationId xmlns:a16="http://schemas.microsoft.com/office/drawing/2014/main" id="{A7063106-68AD-8141-997D-471D67A9AC3A}"/>
              </a:ext>
            </a:extLst>
          </p:cNvPr>
          <p:cNvSpPr/>
          <p:nvPr/>
        </p:nvSpPr>
        <p:spPr bwMode="auto">
          <a:xfrm>
            <a:off x="6308699" y="516135"/>
            <a:ext cx="1192123" cy="1061829"/>
          </a:xfrm>
          <a:prstGeom prst="snip1Rect">
            <a:avLst>
              <a:gd name="adj" fmla="val 0"/>
            </a:avLst>
          </a:prstGeom>
          <a:no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spAutoFit/>
          </a:bodyPr>
          <a:lstStyle/>
          <a:p>
            <a:pPr algn="ctr" eaLnBrk="0" hangingPunct="0">
              <a:spcBef>
                <a:spcPct val="20000"/>
              </a:spcBef>
            </a:pPr>
            <a:r>
              <a:rPr lang="en-US" sz="1200" dirty="0">
                <a:solidFill>
                  <a:schemeClr val="tx2">
                    <a:lumMod val="75000"/>
                    <a:lumOff val="25000"/>
                  </a:schemeClr>
                </a:solidFill>
                <a:latin typeface="Arial Rounded MT Bold" panose="020F0704030504030204" pitchFamily="34" charset="77"/>
                <a:cs typeface="Arial"/>
              </a:rPr>
              <a:t>Too early commitment to a design that didn’t work</a:t>
            </a:r>
          </a:p>
        </p:txBody>
      </p:sp>
      <p:pic>
        <p:nvPicPr>
          <p:cNvPr id="11" name="Picture 10">
            <a:extLst>
              <a:ext uri="{FF2B5EF4-FFF2-40B4-BE49-F238E27FC236}">
                <a16:creationId xmlns:a16="http://schemas.microsoft.com/office/drawing/2014/main" id="{98CD0C30-299B-A242-9B88-4A566E3403C2}"/>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7539062" y="1802913"/>
            <a:ext cx="1459345" cy="1425339"/>
          </a:xfrm>
          <a:prstGeom prst="rect">
            <a:avLst/>
          </a:prstGeom>
        </p:spPr>
      </p:pic>
      <p:sp>
        <p:nvSpPr>
          <p:cNvPr id="12" name="Snip Single Corner Rectangle 11">
            <a:extLst>
              <a:ext uri="{FF2B5EF4-FFF2-40B4-BE49-F238E27FC236}">
                <a16:creationId xmlns:a16="http://schemas.microsoft.com/office/drawing/2014/main" id="{ED0571A3-C993-9949-8CB2-0920419A40D3}"/>
              </a:ext>
            </a:extLst>
          </p:cNvPr>
          <p:cNvSpPr/>
          <p:nvPr/>
        </p:nvSpPr>
        <p:spPr bwMode="auto">
          <a:xfrm>
            <a:off x="7602010" y="2237301"/>
            <a:ext cx="1325733" cy="544765"/>
          </a:xfrm>
          <a:prstGeom prst="snip1Rect">
            <a:avLst>
              <a:gd name="adj" fmla="val 0"/>
            </a:avLst>
          </a:prstGeom>
          <a:no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spAutoFit/>
          </a:bodyPr>
          <a:lstStyle/>
          <a:p>
            <a:pPr algn="ctr" eaLnBrk="0" hangingPunct="0">
              <a:spcBef>
                <a:spcPct val="20000"/>
              </a:spcBef>
            </a:pPr>
            <a:r>
              <a:rPr lang="en-US" sz="1200" dirty="0">
                <a:solidFill>
                  <a:schemeClr val="tx2">
                    <a:lumMod val="75000"/>
                    <a:lumOff val="25000"/>
                  </a:schemeClr>
                </a:solidFill>
                <a:latin typeface="Arial Rounded MT Bold" panose="020F0704030504030204" pitchFamily="34" charset="77"/>
                <a:cs typeface="Arial"/>
              </a:rPr>
              <a:t>Dissatisfied</a:t>
            </a:r>
          </a:p>
          <a:p>
            <a:pPr algn="ctr" eaLnBrk="0" hangingPunct="0">
              <a:spcBef>
                <a:spcPct val="20000"/>
              </a:spcBef>
            </a:pPr>
            <a:r>
              <a:rPr lang="en-US" sz="1200" dirty="0">
                <a:solidFill>
                  <a:schemeClr val="tx2">
                    <a:lumMod val="75000"/>
                    <a:lumOff val="25000"/>
                  </a:schemeClr>
                </a:solidFill>
                <a:latin typeface="Arial Rounded MT Bold" panose="020F0704030504030204" pitchFamily="34" charset="77"/>
                <a:cs typeface="Arial"/>
              </a:rPr>
              <a:t>customers</a:t>
            </a:r>
          </a:p>
        </p:txBody>
      </p:sp>
      <p:pic>
        <p:nvPicPr>
          <p:cNvPr id="13" name="Picture 12">
            <a:extLst>
              <a:ext uri="{FF2B5EF4-FFF2-40B4-BE49-F238E27FC236}">
                <a16:creationId xmlns:a16="http://schemas.microsoft.com/office/drawing/2014/main" id="{CC26B208-768C-5848-B5C2-558B6AF9A001}"/>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7587470" y="3240677"/>
            <a:ext cx="1459345" cy="1425339"/>
          </a:xfrm>
          <a:prstGeom prst="rect">
            <a:avLst/>
          </a:prstGeom>
        </p:spPr>
      </p:pic>
      <p:sp>
        <p:nvSpPr>
          <p:cNvPr id="16" name="Snip Single Corner Rectangle 15">
            <a:extLst>
              <a:ext uri="{FF2B5EF4-FFF2-40B4-BE49-F238E27FC236}">
                <a16:creationId xmlns:a16="http://schemas.microsoft.com/office/drawing/2014/main" id="{2316BC13-6923-3749-9BC3-26F942B6EE96}"/>
              </a:ext>
            </a:extLst>
          </p:cNvPr>
          <p:cNvSpPr/>
          <p:nvPr/>
        </p:nvSpPr>
        <p:spPr bwMode="auto">
          <a:xfrm>
            <a:off x="7654275" y="3625501"/>
            <a:ext cx="1325733" cy="544765"/>
          </a:xfrm>
          <a:prstGeom prst="snip1Rect">
            <a:avLst>
              <a:gd name="adj" fmla="val 0"/>
            </a:avLst>
          </a:prstGeom>
          <a:no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spAutoFit/>
          </a:bodyPr>
          <a:lstStyle/>
          <a:p>
            <a:pPr algn="ctr" eaLnBrk="0" hangingPunct="0">
              <a:spcBef>
                <a:spcPct val="20000"/>
              </a:spcBef>
            </a:pPr>
            <a:r>
              <a:rPr lang="en-US" sz="1200" dirty="0">
                <a:solidFill>
                  <a:schemeClr val="tx2">
                    <a:lumMod val="75000"/>
                    <a:lumOff val="25000"/>
                  </a:schemeClr>
                </a:solidFill>
                <a:latin typeface="Arial Rounded MT Bold" panose="020F0704030504030204" pitchFamily="34" charset="77"/>
                <a:cs typeface="Arial"/>
              </a:rPr>
              <a:t>Poor</a:t>
            </a:r>
          </a:p>
          <a:p>
            <a:pPr algn="ctr" eaLnBrk="0" hangingPunct="0">
              <a:spcBef>
                <a:spcPct val="20000"/>
              </a:spcBef>
            </a:pPr>
            <a:r>
              <a:rPr lang="en-US" sz="1200" dirty="0">
                <a:solidFill>
                  <a:schemeClr val="tx2">
                    <a:lumMod val="75000"/>
                    <a:lumOff val="25000"/>
                  </a:schemeClr>
                </a:solidFill>
                <a:latin typeface="Arial Rounded MT Bold" panose="020F0704030504030204" pitchFamily="34" charset="77"/>
                <a:cs typeface="Arial"/>
              </a:rPr>
              <a:t>morale</a:t>
            </a:r>
          </a:p>
        </p:txBody>
      </p:sp>
      <p:pic>
        <p:nvPicPr>
          <p:cNvPr id="17" name="Picture 16">
            <a:extLst>
              <a:ext uri="{FF2B5EF4-FFF2-40B4-BE49-F238E27FC236}">
                <a16:creationId xmlns:a16="http://schemas.microsoft.com/office/drawing/2014/main" id="{0BE549A8-96CA-F04C-A1AA-482821928F68}"/>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5213699" y="1895291"/>
            <a:ext cx="1459345" cy="1425339"/>
          </a:xfrm>
          <a:prstGeom prst="rect">
            <a:avLst/>
          </a:prstGeom>
        </p:spPr>
      </p:pic>
      <p:sp>
        <p:nvSpPr>
          <p:cNvPr id="18" name="Snip Single Corner Rectangle 17">
            <a:extLst>
              <a:ext uri="{FF2B5EF4-FFF2-40B4-BE49-F238E27FC236}">
                <a16:creationId xmlns:a16="http://schemas.microsoft.com/office/drawing/2014/main" id="{81E398B0-644F-644F-A840-0065CE9B11E6}"/>
              </a:ext>
            </a:extLst>
          </p:cNvPr>
          <p:cNvSpPr/>
          <p:nvPr/>
        </p:nvSpPr>
        <p:spPr bwMode="auto">
          <a:xfrm>
            <a:off x="5310227" y="2169378"/>
            <a:ext cx="1282320" cy="877163"/>
          </a:xfrm>
          <a:prstGeom prst="snip1Rect">
            <a:avLst>
              <a:gd name="adj" fmla="val 0"/>
            </a:avLst>
          </a:prstGeom>
          <a:no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spAutoFit/>
          </a:bodyPr>
          <a:lstStyle/>
          <a:p>
            <a:pPr algn="ctr" eaLnBrk="0" hangingPunct="0">
              <a:spcBef>
                <a:spcPct val="20000"/>
              </a:spcBef>
            </a:pPr>
            <a:r>
              <a:rPr lang="en-US" sz="1200" dirty="0">
                <a:solidFill>
                  <a:schemeClr val="tx2">
                    <a:lumMod val="75000"/>
                    <a:lumOff val="25000"/>
                  </a:schemeClr>
                </a:solidFill>
                <a:latin typeface="Arial Rounded MT Bold" panose="020F0704030504030204" pitchFamily="34" charset="77"/>
                <a:cs typeface="Arial"/>
              </a:rPr>
              <a:t>Hard to manage distributed teams</a:t>
            </a:r>
          </a:p>
        </p:txBody>
      </p:sp>
      <p:pic>
        <p:nvPicPr>
          <p:cNvPr id="19" name="Picture 18">
            <a:extLst>
              <a:ext uri="{FF2B5EF4-FFF2-40B4-BE49-F238E27FC236}">
                <a16:creationId xmlns:a16="http://schemas.microsoft.com/office/drawing/2014/main" id="{2B204EDF-95D4-BE44-A3CA-CB9C178BE39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427269" y="3536180"/>
            <a:ext cx="1459345" cy="1425339"/>
          </a:xfrm>
          <a:prstGeom prst="rect">
            <a:avLst/>
          </a:prstGeom>
        </p:spPr>
      </p:pic>
      <p:sp>
        <p:nvSpPr>
          <p:cNvPr id="20" name="Snip Single Corner Rectangle 19">
            <a:extLst>
              <a:ext uri="{FF2B5EF4-FFF2-40B4-BE49-F238E27FC236}">
                <a16:creationId xmlns:a16="http://schemas.microsoft.com/office/drawing/2014/main" id="{8595F7F9-A4F8-1749-BB13-48A9297FC292}"/>
              </a:ext>
            </a:extLst>
          </p:cNvPr>
          <p:cNvSpPr/>
          <p:nvPr/>
        </p:nvSpPr>
        <p:spPr bwMode="auto">
          <a:xfrm>
            <a:off x="6495950" y="3810267"/>
            <a:ext cx="1346570" cy="692497"/>
          </a:xfrm>
          <a:prstGeom prst="snip1Rect">
            <a:avLst>
              <a:gd name="adj" fmla="val 0"/>
            </a:avLst>
          </a:prstGeom>
          <a:no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spAutoFit/>
          </a:bodyPr>
          <a:lstStyle/>
          <a:p>
            <a:pPr algn="ctr" eaLnBrk="0" hangingPunct="0">
              <a:spcBef>
                <a:spcPct val="20000"/>
              </a:spcBef>
            </a:pPr>
            <a:r>
              <a:rPr lang="en-US" sz="1200" dirty="0">
                <a:solidFill>
                  <a:schemeClr val="tx2">
                    <a:lumMod val="75000"/>
                    <a:lumOff val="25000"/>
                  </a:schemeClr>
                </a:solidFill>
                <a:latin typeface="Arial Rounded MT Bold" panose="020F0704030504030204" pitchFamily="34" charset="77"/>
                <a:cs typeface="Arial"/>
              </a:rPr>
              <a:t>Phase </a:t>
            </a:r>
            <a:br>
              <a:rPr lang="en-US" sz="1200" dirty="0">
                <a:solidFill>
                  <a:schemeClr val="tx2">
                    <a:lumMod val="75000"/>
                    <a:lumOff val="25000"/>
                  </a:schemeClr>
                </a:solidFill>
                <a:latin typeface="Arial Rounded MT Bold" panose="020F0704030504030204" pitchFamily="34" charset="77"/>
                <a:cs typeface="Arial"/>
              </a:rPr>
            </a:br>
            <a:r>
              <a:rPr lang="en-US" sz="1200" dirty="0">
                <a:solidFill>
                  <a:schemeClr val="tx2">
                    <a:lumMod val="75000"/>
                    <a:lumOff val="25000"/>
                  </a:schemeClr>
                </a:solidFill>
                <a:latin typeface="Arial Rounded MT Bold" panose="020F0704030504030204" pitchFamily="34" charset="77"/>
                <a:cs typeface="Arial"/>
              </a:rPr>
              <a:t>gates don’t reduce risk</a:t>
            </a:r>
          </a:p>
        </p:txBody>
      </p:sp>
      <p:sp>
        <p:nvSpPr>
          <p:cNvPr id="21" name="Snip Single Corner Rectangle 20">
            <a:extLst>
              <a:ext uri="{FF2B5EF4-FFF2-40B4-BE49-F238E27FC236}">
                <a16:creationId xmlns:a16="http://schemas.microsoft.com/office/drawing/2014/main" id="{75FDBFA8-D36A-5E47-87B4-DA8A2B43BDE6}"/>
              </a:ext>
            </a:extLst>
          </p:cNvPr>
          <p:cNvSpPr/>
          <p:nvPr/>
        </p:nvSpPr>
        <p:spPr bwMode="auto">
          <a:xfrm>
            <a:off x="3830537" y="3374080"/>
            <a:ext cx="1292010" cy="692497"/>
          </a:xfrm>
          <a:prstGeom prst="snip1Rect">
            <a:avLst>
              <a:gd name="adj" fmla="val 0"/>
            </a:avLst>
          </a:prstGeom>
          <a:no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spAutoFit/>
          </a:bodyPr>
          <a:lstStyle/>
          <a:p>
            <a:pPr algn="ctr" eaLnBrk="0" hangingPunct="0">
              <a:spcBef>
                <a:spcPct val="20000"/>
              </a:spcBef>
            </a:pPr>
            <a:r>
              <a:rPr lang="en-US" sz="1200" spc="-30" dirty="0">
                <a:solidFill>
                  <a:schemeClr val="tx2">
                    <a:lumMod val="75000"/>
                    <a:lumOff val="25000"/>
                  </a:schemeClr>
                </a:solidFill>
                <a:latin typeface="Arial Rounded MT Bold" panose="020F0704030504030204" pitchFamily="34" charset="77"/>
                <a:cs typeface="Arial"/>
              </a:rPr>
              <a:t>Under-</a:t>
            </a:r>
            <a:br>
              <a:rPr lang="en-US" sz="1200" spc="-30" dirty="0">
                <a:solidFill>
                  <a:schemeClr val="tx2">
                    <a:lumMod val="75000"/>
                    <a:lumOff val="25000"/>
                  </a:schemeClr>
                </a:solidFill>
                <a:latin typeface="Arial Rounded MT Bold" panose="020F0704030504030204" pitchFamily="34" charset="77"/>
                <a:cs typeface="Arial"/>
              </a:rPr>
            </a:br>
            <a:r>
              <a:rPr lang="en-US" sz="1200" spc="-30" dirty="0">
                <a:solidFill>
                  <a:schemeClr val="tx2">
                    <a:lumMod val="75000"/>
                    <a:lumOff val="25000"/>
                  </a:schemeClr>
                </a:solidFill>
                <a:latin typeface="Arial Rounded MT Bold" panose="020F0704030504030204" pitchFamily="34" charset="77"/>
                <a:cs typeface="Arial"/>
              </a:rPr>
              <a:t>estimated dependencies</a:t>
            </a:r>
          </a:p>
        </p:txBody>
      </p:sp>
      <p:pic>
        <p:nvPicPr>
          <p:cNvPr id="22" name="Picture 21">
            <a:extLst>
              <a:ext uri="{FF2B5EF4-FFF2-40B4-BE49-F238E27FC236}">
                <a16:creationId xmlns:a16="http://schemas.microsoft.com/office/drawing/2014/main" id="{5AF3EBBB-0959-9048-BAB3-19077A27ED98}"/>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938347" y="3442525"/>
            <a:ext cx="1459345" cy="1425339"/>
          </a:xfrm>
          <a:prstGeom prst="rect">
            <a:avLst/>
          </a:prstGeom>
        </p:spPr>
      </p:pic>
      <p:sp>
        <p:nvSpPr>
          <p:cNvPr id="24" name="Snip Single Corner Rectangle 23">
            <a:extLst>
              <a:ext uri="{FF2B5EF4-FFF2-40B4-BE49-F238E27FC236}">
                <a16:creationId xmlns:a16="http://schemas.microsoft.com/office/drawing/2014/main" id="{36C5BA16-25A1-F84E-8243-E0408CBD092C}"/>
              </a:ext>
            </a:extLst>
          </p:cNvPr>
          <p:cNvSpPr/>
          <p:nvPr/>
        </p:nvSpPr>
        <p:spPr bwMode="auto">
          <a:xfrm>
            <a:off x="5065875" y="3759852"/>
            <a:ext cx="1261329" cy="692497"/>
          </a:xfrm>
          <a:prstGeom prst="snip1Rect">
            <a:avLst>
              <a:gd name="adj" fmla="val 0"/>
            </a:avLst>
          </a:prstGeom>
          <a:no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spAutoFit/>
          </a:bodyPr>
          <a:lstStyle/>
          <a:p>
            <a:pPr algn="ctr" eaLnBrk="0" hangingPunct="0">
              <a:spcBef>
                <a:spcPct val="20000"/>
              </a:spcBef>
            </a:pPr>
            <a:r>
              <a:rPr lang="en-US" sz="1200" dirty="0">
                <a:solidFill>
                  <a:schemeClr val="tx2">
                    <a:lumMod val="75000"/>
                    <a:lumOff val="25000"/>
                  </a:schemeClr>
                </a:solidFill>
                <a:latin typeface="Arial Rounded MT Bold" panose="020F0704030504030204" pitchFamily="34" charset="77"/>
                <a:cs typeface="Arial"/>
              </a:rPr>
              <a:t>Massive growth in complexity</a:t>
            </a:r>
          </a:p>
        </p:txBody>
      </p:sp>
      <p:pic>
        <p:nvPicPr>
          <p:cNvPr id="25" name="Picture 24">
            <a:extLst>
              <a:ext uri="{FF2B5EF4-FFF2-40B4-BE49-F238E27FC236}">
                <a16:creationId xmlns:a16="http://schemas.microsoft.com/office/drawing/2014/main" id="{3DD584B6-69D0-8D45-B76E-EEFB774533E4}"/>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3549298" y="1233427"/>
            <a:ext cx="1459345" cy="1425339"/>
          </a:xfrm>
          <a:prstGeom prst="rect">
            <a:avLst/>
          </a:prstGeom>
        </p:spPr>
      </p:pic>
      <p:sp>
        <p:nvSpPr>
          <p:cNvPr id="26" name="Snip Single Corner Rectangle 25">
            <a:extLst>
              <a:ext uri="{FF2B5EF4-FFF2-40B4-BE49-F238E27FC236}">
                <a16:creationId xmlns:a16="http://schemas.microsoft.com/office/drawing/2014/main" id="{0FE05BCF-25B8-AB46-9D6E-BC0E4BFDBAFB}"/>
              </a:ext>
            </a:extLst>
          </p:cNvPr>
          <p:cNvSpPr/>
          <p:nvPr/>
        </p:nvSpPr>
        <p:spPr bwMode="auto">
          <a:xfrm>
            <a:off x="3618246" y="1487605"/>
            <a:ext cx="1344740" cy="692497"/>
          </a:xfrm>
          <a:prstGeom prst="snip1Rect">
            <a:avLst>
              <a:gd name="adj" fmla="val 0"/>
            </a:avLst>
          </a:prstGeom>
          <a:no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spAutoFit/>
          </a:bodyPr>
          <a:lstStyle/>
          <a:p>
            <a:pPr algn="ctr" eaLnBrk="0" hangingPunct="0">
              <a:spcBef>
                <a:spcPct val="20000"/>
              </a:spcBef>
            </a:pPr>
            <a:r>
              <a:rPr lang="en-US" sz="1200" dirty="0">
                <a:solidFill>
                  <a:schemeClr val="tx2">
                    <a:lumMod val="75000"/>
                    <a:lumOff val="25000"/>
                  </a:schemeClr>
                </a:solidFill>
                <a:latin typeface="Arial Rounded MT Bold" panose="020F0704030504030204" pitchFamily="34" charset="77"/>
                <a:cs typeface="Arial"/>
              </a:rPr>
              <a:t>No way to improve systematically</a:t>
            </a:r>
          </a:p>
        </p:txBody>
      </p:sp>
      <p:pic>
        <p:nvPicPr>
          <p:cNvPr id="7" name="Picture 6">
            <a:extLst>
              <a:ext uri="{FF2B5EF4-FFF2-40B4-BE49-F238E27FC236}">
                <a16:creationId xmlns:a16="http://schemas.microsoft.com/office/drawing/2014/main" id="{7B2D82B5-970D-D94F-932F-B21A036981BD}"/>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349284" y="2023281"/>
            <a:ext cx="1459345" cy="1425339"/>
          </a:xfrm>
          <a:prstGeom prst="rect">
            <a:avLst/>
          </a:prstGeom>
        </p:spPr>
      </p:pic>
      <p:sp>
        <p:nvSpPr>
          <p:cNvPr id="8" name="Snip Single Corner Rectangle 7">
            <a:extLst>
              <a:ext uri="{FF2B5EF4-FFF2-40B4-BE49-F238E27FC236}">
                <a16:creationId xmlns:a16="http://schemas.microsoft.com/office/drawing/2014/main" id="{487E70AD-E39E-1144-A595-74DC3F20806A}"/>
              </a:ext>
            </a:extLst>
          </p:cNvPr>
          <p:cNvSpPr/>
          <p:nvPr/>
        </p:nvSpPr>
        <p:spPr bwMode="auto">
          <a:xfrm>
            <a:off x="6500141" y="2385931"/>
            <a:ext cx="1192123" cy="578620"/>
          </a:xfrm>
          <a:prstGeom prst="snip1Rect">
            <a:avLst>
              <a:gd name="adj" fmla="val 0"/>
            </a:avLst>
          </a:prstGeom>
          <a:no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spAutoFit/>
          </a:bodyPr>
          <a:lstStyle/>
          <a:p>
            <a:pPr algn="ctr" eaLnBrk="0" hangingPunct="0">
              <a:spcBef>
                <a:spcPct val="20000"/>
              </a:spcBef>
            </a:pPr>
            <a:r>
              <a:rPr lang="en-US" sz="1300" dirty="0">
                <a:solidFill>
                  <a:schemeClr val="tx2">
                    <a:lumMod val="75000"/>
                    <a:lumOff val="25000"/>
                  </a:schemeClr>
                </a:solidFill>
                <a:latin typeface="Arial Rounded MT Bold" panose="020F0704030504030204" pitchFamily="34" charset="77"/>
                <a:cs typeface="Arial"/>
              </a:rPr>
              <a:t>Late</a:t>
            </a:r>
          </a:p>
          <a:p>
            <a:pPr algn="ctr" eaLnBrk="0" hangingPunct="0">
              <a:spcBef>
                <a:spcPct val="20000"/>
              </a:spcBef>
            </a:pPr>
            <a:r>
              <a:rPr lang="en-US" sz="1300" dirty="0">
                <a:solidFill>
                  <a:schemeClr val="tx2">
                    <a:lumMod val="75000"/>
                    <a:lumOff val="25000"/>
                  </a:schemeClr>
                </a:solidFill>
                <a:latin typeface="Arial Rounded MT Bold" panose="020F0704030504030204" pitchFamily="34" charset="77"/>
                <a:cs typeface="Arial"/>
              </a:rPr>
              <a:t>delivery</a:t>
            </a:r>
          </a:p>
        </p:txBody>
      </p:sp>
      <p:pic>
        <p:nvPicPr>
          <p:cNvPr id="27" name="Picture 26">
            <a:extLst>
              <a:ext uri="{FF2B5EF4-FFF2-40B4-BE49-F238E27FC236}">
                <a16:creationId xmlns:a16="http://schemas.microsoft.com/office/drawing/2014/main" id="{22F5F80C-8166-664C-93B4-69DE093C9612}"/>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944132" y="716143"/>
            <a:ext cx="1459345" cy="1425339"/>
          </a:xfrm>
          <a:prstGeom prst="rect">
            <a:avLst/>
          </a:prstGeom>
        </p:spPr>
      </p:pic>
      <p:sp>
        <p:nvSpPr>
          <p:cNvPr id="28" name="Snip Single Corner Rectangle 27">
            <a:extLst>
              <a:ext uri="{FF2B5EF4-FFF2-40B4-BE49-F238E27FC236}">
                <a16:creationId xmlns:a16="http://schemas.microsoft.com/office/drawing/2014/main" id="{19BE4872-F025-6A47-95D2-0A28325D122A}"/>
              </a:ext>
            </a:extLst>
          </p:cNvPr>
          <p:cNvSpPr/>
          <p:nvPr/>
        </p:nvSpPr>
        <p:spPr bwMode="auto">
          <a:xfrm>
            <a:off x="5056907" y="1042598"/>
            <a:ext cx="1251043" cy="544765"/>
          </a:xfrm>
          <a:prstGeom prst="snip1Rect">
            <a:avLst>
              <a:gd name="adj" fmla="val 0"/>
            </a:avLst>
          </a:prstGeom>
          <a:no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spAutoFit/>
          </a:bodyPr>
          <a:lstStyle/>
          <a:p>
            <a:pPr algn="ctr" eaLnBrk="0" hangingPunct="0">
              <a:spcBef>
                <a:spcPct val="20000"/>
              </a:spcBef>
            </a:pPr>
            <a:r>
              <a:rPr lang="en-US" sz="1200" dirty="0">
                <a:solidFill>
                  <a:schemeClr val="tx2">
                    <a:lumMod val="75000"/>
                    <a:lumOff val="25000"/>
                  </a:schemeClr>
                </a:solidFill>
                <a:latin typeface="Arial Rounded MT Bold" panose="020F0704030504030204" pitchFamily="34" charset="77"/>
                <a:cs typeface="Arial"/>
              </a:rPr>
              <a:t>Too little</a:t>
            </a:r>
          </a:p>
          <a:p>
            <a:pPr algn="ctr" eaLnBrk="0" hangingPunct="0">
              <a:spcBef>
                <a:spcPct val="20000"/>
              </a:spcBef>
            </a:pPr>
            <a:r>
              <a:rPr lang="en-US" sz="1200" dirty="0">
                <a:solidFill>
                  <a:schemeClr val="tx2">
                    <a:lumMod val="75000"/>
                    <a:lumOff val="25000"/>
                  </a:schemeClr>
                </a:solidFill>
                <a:latin typeface="Arial Rounded MT Bold" panose="020F0704030504030204" pitchFamily="34" charset="77"/>
                <a:cs typeface="Arial"/>
              </a:rPr>
              <a:t>visibility</a:t>
            </a:r>
          </a:p>
        </p:txBody>
      </p:sp>
    </p:spTree>
    <p:extLst>
      <p:ext uri="{BB962C8B-B14F-4D97-AF65-F5344CB8AC3E}">
        <p14:creationId xmlns:p14="http://schemas.microsoft.com/office/powerpoint/2010/main" val="9624676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436663482"/>
              </p:ext>
            </p:extLst>
          </p:nvPr>
        </p:nvGraphicFramePr>
        <p:xfrm>
          <a:off x="1143000" y="0"/>
          <a:ext cx="119063" cy="119063"/>
        </p:xfrm>
        <a:graphic>
          <a:graphicData uri="http://schemas.openxmlformats.org/presentationml/2006/ole">
            <mc:AlternateContent xmlns:mc="http://schemas.openxmlformats.org/markup-compatibility/2006">
              <mc:Choice xmlns:v="urn:schemas-microsoft-com:vml" Requires="v">
                <p:oleObj spid="_x0000_s137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43000" y="0"/>
                        <a:ext cx="119063" cy="119063"/>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139141" name="Rectangle 5"/>
          <p:cNvSpPr>
            <a:spLocks noGrp="1" noChangeArrowheads="1"/>
          </p:cNvSpPr>
          <p:nvPr>
            <p:ph type="title"/>
            <p:custDataLst>
              <p:tags r:id="rId3"/>
            </p:custDataLst>
          </p:nvPr>
        </p:nvSpPr>
        <p:spPr/>
        <p:txBody>
          <a:bodyPr/>
          <a:lstStyle/>
          <a:p>
            <a:r>
              <a:rPr lang="en-US" dirty="0"/>
              <a:t>Management’s challenge</a:t>
            </a:r>
          </a:p>
        </p:txBody>
      </p:sp>
      <p:pic>
        <p:nvPicPr>
          <p:cNvPr id="10" name="Picture 9"/>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472526" y="1023675"/>
            <a:ext cx="1819656" cy="2274568"/>
          </a:xfrm>
          <a:prstGeom prst="rect">
            <a:avLst/>
          </a:prstGeom>
          <a:effectLst/>
        </p:spPr>
      </p:pic>
      <p:sp>
        <p:nvSpPr>
          <p:cNvPr id="7" name="TextBox 6"/>
          <p:cNvSpPr txBox="1"/>
          <p:nvPr/>
        </p:nvSpPr>
        <p:spPr bwMode="auto">
          <a:xfrm>
            <a:off x="2880790" y="1382849"/>
            <a:ext cx="5842010" cy="3120838"/>
          </a:xfrm>
          <a:prstGeom prst="rect">
            <a:avLst/>
          </a:prstGeom>
          <a:noFill/>
          <a:ln w="9525">
            <a:noFill/>
            <a:miter lim="800000"/>
            <a:headEnd/>
            <a:tailEnd/>
          </a:ln>
        </p:spPr>
        <p:txBody>
          <a:bodyPr vert="horz" wrap="square" lIns="68580" tIns="0" rIns="68580" bIns="34290" numCol="1" rtlCol="0" anchor="t" anchorCtr="0" compatLnSpc="1">
            <a:prstTxWarp prst="textNoShape">
              <a:avLst/>
            </a:prstTxWarp>
            <a:noAutofit/>
          </a:bodyPr>
          <a:lstStyle/>
          <a:p>
            <a:pPr>
              <a:lnSpc>
                <a:spcPct val="120000"/>
              </a:lnSpc>
              <a:spcAft>
                <a:spcPts val="1400"/>
              </a:spcAft>
            </a:pPr>
            <a:r>
              <a:rPr lang="en-US" sz="2000" i="1" dirty="0">
                <a:solidFill>
                  <a:schemeClr val="accent2"/>
                </a:solidFill>
                <a:latin typeface="Arial"/>
                <a:cs typeface="Arial"/>
              </a:rPr>
              <a:t>It is not enough that management commit themselves to quality and productivity. … </a:t>
            </a:r>
            <a:br>
              <a:rPr lang="en-US" sz="2000" i="1" dirty="0">
                <a:solidFill>
                  <a:schemeClr val="accent2"/>
                </a:solidFill>
                <a:latin typeface="Arial"/>
                <a:cs typeface="Arial"/>
              </a:rPr>
            </a:br>
            <a:r>
              <a:rPr lang="en-US" sz="2000" i="1" dirty="0">
                <a:solidFill>
                  <a:schemeClr val="accent2"/>
                </a:solidFill>
                <a:latin typeface="Arial"/>
                <a:cs typeface="Arial"/>
              </a:rPr>
              <a:t>They must know what it is they must do.</a:t>
            </a:r>
          </a:p>
          <a:p>
            <a:pPr>
              <a:lnSpc>
                <a:spcPct val="120000"/>
              </a:lnSpc>
              <a:spcAft>
                <a:spcPts val="1400"/>
              </a:spcAft>
            </a:pPr>
            <a:r>
              <a:rPr lang="en-US" sz="2000" i="1" dirty="0">
                <a:solidFill>
                  <a:schemeClr val="accent2"/>
                </a:solidFill>
                <a:latin typeface="Arial"/>
                <a:cs typeface="Arial"/>
              </a:rPr>
              <a:t>Such a responsibility cannot be delegated.</a:t>
            </a:r>
          </a:p>
          <a:p>
            <a:pPr algn="r">
              <a:lnSpc>
                <a:spcPct val="120000"/>
              </a:lnSpc>
              <a:spcAft>
                <a:spcPts val="1400"/>
              </a:spcAft>
            </a:pPr>
            <a:r>
              <a:rPr lang="en-US" sz="2000" i="1" dirty="0">
                <a:solidFill>
                  <a:schemeClr val="accent2"/>
                </a:solidFill>
                <a:latin typeface="Arial"/>
                <a:cs typeface="Arial"/>
              </a:rPr>
              <a:t>—W. Edwards Deming</a:t>
            </a:r>
          </a:p>
        </p:txBody>
      </p:sp>
      <p:sp>
        <p:nvSpPr>
          <p:cNvPr id="3" name="TextBox 2"/>
          <p:cNvSpPr txBox="1"/>
          <p:nvPr/>
        </p:nvSpPr>
        <p:spPr>
          <a:xfrm>
            <a:off x="457201" y="3937378"/>
            <a:ext cx="5175390" cy="566309"/>
          </a:xfrm>
          <a:prstGeom prst="rect">
            <a:avLst/>
          </a:prstGeom>
          <a:noFill/>
        </p:spPr>
        <p:txBody>
          <a:bodyPr wrap="square" rtlCol="0">
            <a:spAutoFit/>
          </a:bodyPr>
          <a:lstStyle/>
          <a:p>
            <a:pPr algn="l">
              <a:lnSpc>
                <a:spcPct val="110000"/>
              </a:lnSpc>
            </a:pPr>
            <a:r>
              <a:rPr lang="en-US" sz="1400" i="1" dirty="0"/>
              <a:t>“… and if you can’t come, send no one.”</a:t>
            </a:r>
            <a:r>
              <a:rPr lang="en-US" sz="1400" dirty="0"/>
              <a:t>  </a:t>
            </a:r>
          </a:p>
          <a:p>
            <a:pPr>
              <a:lnSpc>
                <a:spcPct val="110000"/>
              </a:lnSpc>
            </a:pPr>
            <a:r>
              <a:rPr lang="en-US" sz="1400" dirty="0"/>
              <a:t>       —Vignette from </a:t>
            </a:r>
            <a:r>
              <a:rPr lang="en-US" sz="1400" i="1" dirty="0"/>
              <a:t>Out of the Crisis</a:t>
            </a:r>
            <a:r>
              <a:rPr lang="en-US" sz="1400" dirty="0"/>
              <a:t>, Deming,1986</a:t>
            </a:r>
          </a:p>
        </p:txBody>
      </p:sp>
    </p:spTree>
    <p:extLst>
      <p:ext uri="{BB962C8B-B14F-4D97-AF65-F5344CB8AC3E}">
        <p14:creationId xmlns:p14="http://schemas.microsoft.com/office/powerpoint/2010/main" val="384176000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it is they must do</a:t>
            </a:r>
          </a:p>
        </p:txBody>
      </p:sp>
      <p:sp>
        <p:nvSpPr>
          <p:cNvPr id="3" name="Content Placeholder 2"/>
          <p:cNvSpPr>
            <a:spLocks noGrp="1"/>
          </p:cNvSpPr>
          <p:nvPr>
            <p:ph idx="1"/>
          </p:nvPr>
        </p:nvSpPr>
        <p:spPr>
          <a:xfrm>
            <a:off x="457200" y="1417108"/>
            <a:ext cx="6708228" cy="2420588"/>
          </a:xfrm>
        </p:spPr>
        <p:txBody>
          <a:bodyPr/>
          <a:lstStyle/>
          <a:p>
            <a:pPr indent="-401955">
              <a:spcAft>
                <a:spcPts val="1350"/>
              </a:spcAft>
            </a:pPr>
            <a:r>
              <a:rPr lang="en-US" dirty="0"/>
              <a:t>Embrace a Lean-Agile mindset</a:t>
            </a:r>
          </a:p>
          <a:p>
            <a:pPr indent="-401955">
              <a:spcAft>
                <a:spcPts val="1350"/>
              </a:spcAft>
            </a:pPr>
            <a:r>
              <a:rPr lang="en-US" dirty="0"/>
              <a:t>Build the Lean Enterprise</a:t>
            </a:r>
          </a:p>
          <a:p>
            <a:pPr indent="-401955">
              <a:spcAft>
                <a:spcPts val="1350"/>
              </a:spcAft>
            </a:pPr>
            <a:r>
              <a:rPr lang="en-US" dirty="0"/>
              <a:t>Lead the transformation</a:t>
            </a:r>
          </a:p>
          <a:p>
            <a:pPr indent="-401955">
              <a:spcAft>
                <a:spcPts val="1350"/>
              </a:spcAft>
            </a:pPr>
            <a:r>
              <a:rPr lang="en-US" dirty="0"/>
              <a:t>Get results</a:t>
            </a:r>
          </a:p>
        </p:txBody>
      </p:sp>
      <p:pic>
        <p:nvPicPr>
          <p:cNvPr id="7" name="Picture 6"/>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006912" y="1095632"/>
            <a:ext cx="3356736" cy="3356736"/>
          </a:xfrm>
          <a:prstGeom prst="rect">
            <a:avLst/>
          </a:prstGeom>
        </p:spPr>
      </p:pic>
    </p:spTree>
    <p:extLst>
      <p:ext uri="{BB962C8B-B14F-4D97-AF65-F5344CB8AC3E}">
        <p14:creationId xmlns:p14="http://schemas.microsoft.com/office/powerpoint/2010/main" val="34509538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0" y="21048"/>
            <a:ext cx="9144000" cy="5143500"/>
          </a:xfrm>
          <a:prstGeom prst="rect">
            <a:avLst/>
          </a:prstGeom>
        </p:spPr>
      </p:pic>
      <p:sp>
        <p:nvSpPr>
          <p:cNvPr id="6" name="Rectangle 5"/>
          <p:cNvSpPr/>
          <p:nvPr/>
        </p:nvSpPr>
        <p:spPr bwMode="auto">
          <a:xfrm>
            <a:off x="0" y="3999149"/>
            <a:ext cx="9144000" cy="1183531"/>
          </a:xfrm>
          <a:prstGeom prst="rect">
            <a:avLst/>
          </a:prstGeom>
          <a:solidFill>
            <a:srgbClr val="9EB31C"/>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l" eaLnBrk="0" hangingPunct="0">
              <a:spcBef>
                <a:spcPct val="20000"/>
              </a:spcBef>
            </a:pPr>
            <a:endParaRPr lang="en-US" sz="2200" i="1" dirty="0"/>
          </a:p>
        </p:txBody>
      </p:sp>
      <p:sp>
        <p:nvSpPr>
          <p:cNvPr id="7" name="Rectangle 6"/>
          <p:cNvSpPr/>
          <p:nvPr/>
        </p:nvSpPr>
        <p:spPr bwMode="auto">
          <a:xfrm>
            <a:off x="-1" y="5746"/>
            <a:ext cx="9144000" cy="843064"/>
          </a:xfrm>
          <a:prstGeom prst="rect">
            <a:avLst/>
          </a:prstGeom>
          <a:solidFill>
            <a:schemeClr val="bg1">
              <a:lumMod val="75000"/>
              <a:alpha val="22000"/>
            </a:schemeClr>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l" eaLnBrk="0" hangingPunct="0">
              <a:spcBef>
                <a:spcPct val="20000"/>
              </a:spcBef>
            </a:pPr>
            <a:endParaRPr lang="en-US" sz="2200" i="1" dirty="0"/>
          </a:p>
        </p:txBody>
      </p:sp>
      <p:grpSp>
        <p:nvGrpSpPr>
          <p:cNvPr id="8" name="Group 7"/>
          <p:cNvGrpSpPr/>
          <p:nvPr/>
        </p:nvGrpSpPr>
        <p:grpSpPr>
          <a:xfrm>
            <a:off x="351710" y="1919385"/>
            <a:ext cx="3776906" cy="584776"/>
            <a:chOff x="500267" y="976273"/>
            <a:chExt cx="3776906" cy="584776"/>
          </a:xfrm>
        </p:grpSpPr>
        <p:sp>
          <p:nvSpPr>
            <p:cNvPr id="9" name="TextBox 8"/>
            <p:cNvSpPr txBox="1"/>
            <p:nvPr/>
          </p:nvSpPr>
          <p:spPr>
            <a:xfrm>
              <a:off x="500267" y="976273"/>
              <a:ext cx="1478756" cy="584776"/>
            </a:xfrm>
            <a:prstGeom prst="rect">
              <a:avLst/>
            </a:prstGeom>
            <a:noFill/>
          </p:spPr>
          <p:txBody>
            <a:bodyPr wrap="square" rtlCol="0">
              <a:spAutoFit/>
            </a:bodyPr>
            <a:lstStyle/>
            <a:p>
              <a:pPr algn="l"/>
              <a:r>
                <a:rPr lang="en-US" sz="3200" b="1" dirty="0">
                  <a:solidFill>
                    <a:srgbClr val="595959"/>
                  </a:solidFill>
                  <a:latin typeface="Arial" charset="0"/>
                  <a:ea typeface="Arial" charset="0"/>
                  <a:cs typeface="Arial" charset="0"/>
                </a:rPr>
                <a:t>70</a:t>
              </a:r>
              <a:r>
                <a:rPr lang="en-US" sz="2800" baseline="30000" dirty="0">
                  <a:solidFill>
                    <a:srgbClr val="595959"/>
                  </a:solidFill>
                  <a:latin typeface="Arial" charset="0"/>
                  <a:ea typeface="Arial" charset="0"/>
                  <a:cs typeface="Arial" charset="0"/>
                </a:rPr>
                <a:t>%</a:t>
              </a:r>
            </a:p>
          </p:txBody>
        </p:sp>
        <p:sp>
          <p:nvSpPr>
            <p:cNvPr id="10" name="TextBox 9"/>
            <p:cNvSpPr txBox="1"/>
            <p:nvPr/>
          </p:nvSpPr>
          <p:spPr>
            <a:xfrm>
              <a:off x="1212662" y="1068310"/>
              <a:ext cx="3064511" cy="430887"/>
            </a:xfrm>
            <a:prstGeom prst="rect">
              <a:avLst/>
            </a:prstGeom>
            <a:noFill/>
          </p:spPr>
          <p:txBody>
            <a:bodyPr wrap="square" rtlCol="0">
              <a:spAutoFit/>
            </a:bodyPr>
            <a:lstStyle/>
            <a:p>
              <a:pPr algn="l"/>
              <a:r>
                <a:rPr lang="en-US" sz="1100" dirty="0">
                  <a:solidFill>
                    <a:srgbClr val="565656"/>
                  </a:solidFill>
                </a:rPr>
                <a:t>US </a:t>
              </a:r>
              <a:r>
                <a:rPr lang="en-US" sz="1100" i="1" dirty="0">
                  <a:solidFill>
                    <a:srgbClr val="565656"/>
                  </a:solidFill>
                </a:rPr>
                <a:t>Fortune </a:t>
              </a:r>
              <a:r>
                <a:rPr lang="en-US" sz="1100" dirty="0">
                  <a:solidFill>
                    <a:srgbClr val="565656"/>
                  </a:solidFill>
                </a:rPr>
                <a:t>100 enterprises have </a:t>
              </a:r>
              <a:br>
                <a:rPr lang="en-US" sz="1100" dirty="0">
                  <a:solidFill>
                    <a:srgbClr val="565656"/>
                  </a:solidFill>
                </a:rPr>
              </a:br>
              <a:r>
                <a:rPr lang="en-US" sz="1100" dirty="0">
                  <a:solidFill>
                    <a:srgbClr val="565656"/>
                  </a:solidFill>
                </a:rPr>
                <a:t>SAFe-trained professionals</a:t>
              </a:r>
            </a:p>
          </p:txBody>
        </p:sp>
      </p:grpSp>
      <p:grpSp>
        <p:nvGrpSpPr>
          <p:cNvPr id="11" name="Group 10"/>
          <p:cNvGrpSpPr/>
          <p:nvPr/>
        </p:nvGrpSpPr>
        <p:grpSpPr>
          <a:xfrm>
            <a:off x="351710" y="2602474"/>
            <a:ext cx="3577184" cy="801414"/>
            <a:chOff x="351260" y="2396975"/>
            <a:chExt cx="3577184" cy="801414"/>
          </a:xfrm>
        </p:grpSpPr>
        <p:sp>
          <p:nvSpPr>
            <p:cNvPr id="12" name="TextBox 11"/>
            <p:cNvSpPr txBox="1"/>
            <p:nvPr/>
          </p:nvSpPr>
          <p:spPr>
            <a:xfrm>
              <a:off x="351260" y="2396975"/>
              <a:ext cx="2514043" cy="523220"/>
            </a:xfrm>
            <a:prstGeom prst="rect">
              <a:avLst/>
            </a:prstGeom>
            <a:noFill/>
          </p:spPr>
          <p:txBody>
            <a:bodyPr wrap="square" rtlCol="0">
              <a:spAutoFit/>
            </a:bodyPr>
            <a:lstStyle/>
            <a:p>
              <a:r>
                <a:rPr lang="en-US" sz="2800" b="1" dirty="0">
                  <a:latin typeface="Arial" charset="0"/>
                  <a:ea typeface="Arial" charset="0"/>
                  <a:cs typeface="Arial" charset="0"/>
                </a:rPr>
                <a:t>2 </a:t>
              </a:r>
              <a:r>
                <a:rPr lang="en-US" sz="2000" dirty="0">
                  <a:latin typeface="Arial" charset="0"/>
                  <a:ea typeface="Arial" charset="0"/>
                  <a:cs typeface="Arial" charset="0"/>
                </a:rPr>
                <a:t>million</a:t>
              </a:r>
            </a:p>
          </p:txBody>
        </p:sp>
        <p:sp>
          <p:nvSpPr>
            <p:cNvPr id="13" name="TextBox 12"/>
            <p:cNvSpPr txBox="1"/>
            <p:nvPr/>
          </p:nvSpPr>
          <p:spPr>
            <a:xfrm>
              <a:off x="362068" y="2798279"/>
              <a:ext cx="3566376" cy="400110"/>
            </a:xfrm>
            <a:prstGeom prst="rect">
              <a:avLst/>
            </a:prstGeom>
            <a:noFill/>
          </p:spPr>
          <p:txBody>
            <a:bodyPr wrap="square" rtlCol="0">
              <a:spAutoFit/>
            </a:bodyPr>
            <a:lstStyle/>
            <a:p>
              <a:r>
                <a:rPr lang="en-US" sz="1000" dirty="0">
                  <a:solidFill>
                    <a:srgbClr val="565656"/>
                  </a:solidFill>
                </a:rPr>
                <a:t>Annual visitors to SAFe </a:t>
              </a:r>
              <a:br>
                <a:rPr lang="en-US" sz="1000" dirty="0">
                  <a:solidFill>
                    <a:srgbClr val="565656"/>
                  </a:solidFill>
                </a:rPr>
              </a:br>
              <a:r>
                <a:rPr lang="en-US" sz="1000" dirty="0">
                  <a:solidFill>
                    <a:srgbClr val="565656"/>
                  </a:solidFill>
                </a:rPr>
                <a:t>and Scaled Agile websites</a:t>
              </a:r>
            </a:p>
          </p:txBody>
        </p:sp>
      </p:grpSp>
      <p:grpSp>
        <p:nvGrpSpPr>
          <p:cNvPr id="14" name="Group 13"/>
          <p:cNvGrpSpPr/>
          <p:nvPr/>
        </p:nvGrpSpPr>
        <p:grpSpPr>
          <a:xfrm>
            <a:off x="245781" y="4077923"/>
            <a:ext cx="1982767" cy="785617"/>
            <a:chOff x="1124484" y="4077923"/>
            <a:chExt cx="1982767" cy="785617"/>
          </a:xfrm>
        </p:grpSpPr>
        <p:sp>
          <p:nvSpPr>
            <p:cNvPr id="15" name="TextBox 14"/>
            <p:cNvSpPr txBox="1"/>
            <p:nvPr/>
          </p:nvSpPr>
          <p:spPr>
            <a:xfrm>
              <a:off x="1124484" y="4077923"/>
              <a:ext cx="1429420" cy="461665"/>
            </a:xfrm>
            <a:prstGeom prst="rect">
              <a:avLst/>
            </a:prstGeom>
            <a:noFill/>
          </p:spPr>
          <p:txBody>
            <a:bodyPr wrap="square" rtlCol="0">
              <a:spAutoFit/>
            </a:bodyPr>
            <a:lstStyle/>
            <a:p>
              <a:r>
                <a:rPr lang="en-US" sz="2400" b="1" dirty="0">
                  <a:solidFill>
                    <a:schemeClr val="bg1"/>
                  </a:solidFill>
                  <a:latin typeface="Arial" charset="0"/>
                  <a:ea typeface="Arial" charset="0"/>
                  <a:cs typeface="Arial" charset="0"/>
                </a:rPr>
                <a:t>30 - 75</a:t>
              </a:r>
              <a:r>
                <a:rPr lang="en-US" sz="2400" b="1" baseline="30000" dirty="0">
                  <a:solidFill>
                    <a:schemeClr val="bg1"/>
                  </a:solidFill>
                  <a:latin typeface="Arial" charset="0"/>
                  <a:ea typeface="Arial" charset="0"/>
                  <a:cs typeface="Arial" charset="0"/>
                </a:rPr>
                <a:t>%</a:t>
              </a:r>
              <a:endParaRPr lang="en-US" sz="2400" baseline="30000" dirty="0">
                <a:solidFill>
                  <a:schemeClr val="bg1"/>
                </a:solidFill>
                <a:latin typeface="Arial" charset="0"/>
                <a:ea typeface="Arial" charset="0"/>
                <a:cs typeface="Arial" charset="0"/>
              </a:endParaRPr>
            </a:p>
          </p:txBody>
        </p:sp>
        <p:sp>
          <p:nvSpPr>
            <p:cNvPr id="16" name="TextBox 15"/>
            <p:cNvSpPr txBox="1"/>
            <p:nvPr/>
          </p:nvSpPr>
          <p:spPr>
            <a:xfrm>
              <a:off x="1124484" y="4432653"/>
              <a:ext cx="1982767" cy="430887"/>
            </a:xfrm>
            <a:prstGeom prst="rect">
              <a:avLst/>
            </a:prstGeom>
            <a:noFill/>
          </p:spPr>
          <p:txBody>
            <a:bodyPr wrap="square" rtlCol="0">
              <a:spAutoFit/>
            </a:bodyPr>
            <a:lstStyle/>
            <a:p>
              <a:r>
                <a:rPr lang="en-US" sz="1100" dirty="0">
                  <a:solidFill>
                    <a:schemeClr val="bg1">
                      <a:lumMod val="95000"/>
                    </a:schemeClr>
                  </a:solidFill>
                </a:rPr>
                <a:t>Faster </a:t>
              </a:r>
              <a:br>
                <a:rPr lang="en-US" sz="1100" dirty="0">
                  <a:solidFill>
                    <a:schemeClr val="bg1">
                      <a:lumMod val="95000"/>
                    </a:schemeClr>
                  </a:solidFill>
                </a:rPr>
              </a:br>
              <a:r>
                <a:rPr lang="en-US" sz="1100" dirty="0">
                  <a:solidFill>
                    <a:schemeClr val="bg1">
                      <a:lumMod val="95000"/>
                    </a:schemeClr>
                  </a:solidFill>
                </a:rPr>
                <a:t>Time-to-Market</a:t>
              </a:r>
            </a:p>
          </p:txBody>
        </p:sp>
      </p:grpSp>
      <p:grpSp>
        <p:nvGrpSpPr>
          <p:cNvPr id="17" name="Group 16"/>
          <p:cNvGrpSpPr/>
          <p:nvPr/>
        </p:nvGrpSpPr>
        <p:grpSpPr>
          <a:xfrm>
            <a:off x="2574515" y="4077923"/>
            <a:ext cx="1828974" cy="785617"/>
            <a:chOff x="2983057" y="4077923"/>
            <a:chExt cx="1828974" cy="785617"/>
          </a:xfrm>
        </p:grpSpPr>
        <p:sp>
          <p:nvSpPr>
            <p:cNvPr id="18" name="TextBox 17"/>
            <p:cNvSpPr txBox="1"/>
            <p:nvPr/>
          </p:nvSpPr>
          <p:spPr>
            <a:xfrm>
              <a:off x="2983057" y="4077923"/>
              <a:ext cx="1429420" cy="461665"/>
            </a:xfrm>
            <a:prstGeom prst="rect">
              <a:avLst/>
            </a:prstGeom>
            <a:noFill/>
          </p:spPr>
          <p:txBody>
            <a:bodyPr wrap="square" rtlCol="0">
              <a:spAutoFit/>
            </a:bodyPr>
            <a:lstStyle/>
            <a:p>
              <a:r>
                <a:rPr lang="en-US" sz="2400" b="1" dirty="0">
                  <a:solidFill>
                    <a:schemeClr val="bg1"/>
                  </a:solidFill>
                  <a:latin typeface="Arial" charset="0"/>
                  <a:ea typeface="Arial" charset="0"/>
                  <a:cs typeface="Arial" charset="0"/>
                </a:rPr>
                <a:t>25 - 75</a:t>
              </a:r>
              <a:r>
                <a:rPr lang="en-US" sz="2400" b="1" baseline="30000" dirty="0">
                  <a:solidFill>
                    <a:schemeClr val="bg1"/>
                  </a:solidFill>
                  <a:latin typeface="Arial" charset="0"/>
                  <a:ea typeface="Arial" charset="0"/>
                  <a:cs typeface="Arial" charset="0"/>
                </a:rPr>
                <a:t>%</a:t>
              </a:r>
              <a:endParaRPr lang="en-US" sz="2400" baseline="30000" dirty="0">
                <a:solidFill>
                  <a:schemeClr val="bg1"/>
                </a:solidFill>
                <a:latin typeface="Arial" charset="0"/>
                <a:ea typeface="Arial" charset="0"/>
                <a:cs typeface="Arial" charset="0"/>
              </a:endParaRPr>
            </a:p>
          </p:txBody>
        </p:sp>
        <p:sp>
          <p:nvSpPr>
            <p:cNvPr id="19" name="TextBox 18"/>
            <p:cNvSpPr txBox="1"/>
            <p:nvPr/>
          </p:nvSpPr>
          <p:spPr>
            <a:xfrm>
              <a:off x="2983057" y="4432653"/>
              <a:ext cx="1828974" cy="430887"/>
            </a:xfrm>
            <a:prstGeom prst="rect">
              <a:avLst/>
            </a:prstGeom>
            <a:noFill/>
          </p:spPr>
          <p:txBody>
            <a:bodyPr wrap="square" rtlCol="0">
              <a:spAutoFit/>
            </a:bodyPr>
            <a:lstStyle/>
            <a:p>
              <a:r>
                <a:rPr lang="en-US" sz="1100" dirty="0">
                  <a:solidFill>
                    <a:srgbClr val="F2F2F2"/>
                  </a:solidFill>
                </a:rPr>
                <a:t>Increase in</a:t>
              </a:r>
              <a:br>
                <a:rPr lang="en-US" sz="1100" dirty="0">
                  <a:solidFill>
                    <a:srgbClr val="F2F2F2"/>
                  </a:solidFill>
                </a:rPr>
              </a:br>
              <a:r>
                <a:rPr lang="en-US" sz="1100" dirty="0">
                  <a:solidFill>
                    <a:srgbClr val="F2F2F2"/>
                  </a:solidFill>
                </a:rPr>
                <a:t>Productivity</a:t>
              </a:r>
            </a:p>
          </p:txBody>
        </p:sp>
      </p:grpSp>
      <p:grpSp>
        <p:nvGrpSpPr>
          <p:cNvPr id="20" name="Group 19"/>
          <p:cNvGrpSpPr/>
          <p:nvPr/>
        </p:nvGrpSpPr>
        <p:grpSpPr>
          <a:xfrm>
            <a:off x="4749456" y="4077923"/>
            <a:ext cx="1828974" cy="785617"/>
            <a:chOff x="4826728" y="4077923"/>
            <a:chExt cx="1828974" cy="785617"/>
          </a:xfrm>
        </p:grpSpPr>
        <p:sp>
          <p:nvSpPr>
            <p:cNvPr id="21" name="TextBox 20"/>
            <p:cNvSpPr txBox="1"/>
            <p:nvPr/>
          </p:nvSpPr>
          <p:spPr>
            <a:xfrm>
              <a:off x="4826728" y="4077923"/>
              <a:ext cx="1429420" cy="461665"/>
            </a:xfrm>
            <a:prstGeom prst="rect">
              <a:avLst/>
            </a:prstGeom>
            <a:noFill/>
          </p:spPr>
          <p:txBody>
            <a:bodyPr wrap="square" rtlCol="0">
              <a:spAutoFit/>
            </a:bodyPr>
            <a:lstStyle/>
            <a:p>
              <a:r>
                <a:rPr lang="en-US" sz="2400" b="1" dirty="0">
                  <a:solidFill>
                    <a:schemeClr val="bg1"/>
                  </a:solidFill>
                  <a:latin typeface="Arial" charset="0"/>
                  <a:ea typeface="Arial" charset="0"/>
                  <a:cs typeface="Arial" charset="0"/>
                </a:rPr>
                <a:t>20 - 50</a:t>
              </a:r>
              <a:r>
                <a:rPr lang="en-US" sz="2400" b="1" baseline="30000" dirty="0">
                  <a:solidFill>
                    <a:schemeClr val="bg1"/>
                  </a:solidFill>
                  <a:latin typeface="Arial" charset="0"/>
                  <a:ea typeface="Arial" charset="0"/>
                  <a:cs typeface="Arial" charset="0"/>
                </a:rPr>
                <a:t>%</a:t>
              </a:r>
              <a:endParaRPr lang="en-US" sz="2400" baseline="30000" dirty="0">
                <a:solidFill>
                  <a:schemeClr val="bg1"/>
                </a:solidFill>
                <a:latin typeface="Arial" charset="0"/>
                <a:ea typeface="Arial" charset="0"/>
                <a:cs typeface="Arial" charset="0"/>
              </a:endParaRPr>
            </a:p>
          </p:txBody>
        </p:sp>
        <p:sp>
          <p:nvSpPr>
            <p:cNvPr id="22" name="TextBox 21"/>
            <p:cNvSpPr txBox="1"/>
            <p:nvPr/>
          </p:nvSpPr>
          <p:spPr>
            <a:xfrm>
              <a:off x="4826728" y="4432653"/>
              <a:ext cx="1828974" cy="430887"/>
            </a:xfrm>
            <a:prstGeom prst="rect">
              <a:avLst/>
            </a:prstGeom>
            <a:noFill/>
          </p:spPr>
          <p:txBody>
            <a:bodyPr wrap="square" rtlCol="0">
              <a:spAutoFit/>
            </a:bodyPr>
            <a:lstStyle/>
            <a:p>
              <a:r>
                <a:rPr lang="en-US" sz="1100" dirty="0">
                  <a:solidFill>
                    <a:srgbClr val="F2F2F2"/>
                  </a:solidFill>
                </a:rPr>
                <a:t>Improvements </a:t>
              </a:r>
              <a:br>
                <a:rPr lang="en-US" sz="1100" dirty="0">
                  <a:solidFill>
                    <a:srgbClr val="F2F2F2"/>
                  </a:solidFill>
                </a:rPr>
              </a:br>
              <a:r>
                <a:rPr lang="en-US" sz="1100" dirty="0">
                  <a:solidFill>
                    <a:srgbClr val="F2F2F2"/>
                  </a:solidFill>
                </a:rPr>
                <a:t>in Quality</a:t>
              </a:r>
            </a:p>
          </p:txBody>
        </p:sp>
      </p:grpSp>
      <p:grpSp>
        <p:nvGrpSpPr>
          <p:cNvPr id="23" name="Group 22"/>
          <p:cNvGrpSpPr/>
          <p:nvPr/>
        </p:nvGrpSpPr>
        <p:grpSpPr>
          <a:xfrm>
            <a:off x="6924398" y="4077923"/>
            <a:ext cx="1828974" cy="785617"/>
            <a:chOff x="6670398" y="4077923"/>
            <a:chExt cx="1828974" cy="785617"/>
          </a:xfrm>
        </p:grpSpPr>
        <p:sp>
          <p:nvSpPr>
            <p:cNvPr id="24" name="TextBox 23"/>
            <p:cNvSpPr txBox="1"/>
            <p:nvPr/>
          </p:nvSpPr>
          <p:spPr>
            <a:xfrm>
              <a:off x="6670398" y="4077923"/>
              <a:ext cx="1429420" cy="461665"/>
            </a:xfrm>
            <a:prstGeom prst="rect">
              <a:avLst/>
            </a:prstGeom>
            <a:noFill/>
          </p:spPr>
          <p:txBody>
            <a:bodyPr wrap="square" rtlCol="0">
              <a:spAutoFit/>
            </a:bodyPr>
            <a:lstStyle/>
            <a:p>
              <a:r>
                <a:rPr lang="en-US" sz="2400" b="1" dirty="0">
                  <a:solidFill>
                    <a:srgbClr val="FFFFFF"/>
                  </a:solidFill>
                  <a:latin typeface="Arial" charset="0"/>
                  <a:ea typeface="Arial" charset="0"/>
                  <a:cs typeface="Arial" charset="0"/>
                </a:rPr>
                <a:t>10 - 50</a:t>
              </a:r>
              <a:r>
                <a:rPr lang="en-US" sz="2400" b="1" baseline="30000" dirty="0">
                  <a:solidFill>
                    <a:srgbClr val="FFFFFF"/>
                  </a:solidFill>
                  <a:latin typeface="Arial" charset="0"/>
                  <a:ea typeface="Arial" charset="0"/>
                  <a:cs typeface="Arial" charset="0"/>
                </a:rPr>
                <a:t>%</a:t>
              </a:r>
              <a:endParaRPr lang="en-US" sz="2400" baseline="30000" dirty="0">
                <a:solidFill>
                  <a:srgbClr val="FFFFFF"/>
                </a:solidFill>
                <a:latin typeface="Arial" charset="0"/>
                <a:ea typeface="Arial" charset="0"/>
                <a:cs typeface="Arial" charset="0"/>
              </a:endParaRPr>
            </a:p>
          </p:txBody>
        </p:sp>
        <p:sp>
          <p:nvSpPr>
            <p:cNvPr id="25" name="TextBox 24"/>
            <p:cNvSpPr txBox="1"/>
            <p:nvPr/>
          </p:nvSpPr>
          <p:spPr>
            <a:xfrm>
              <a:off x="6670398" y="4432653"/>
              <a:ext cx="1828974" cy="430887"/>
            </a:xfrm>
            <a:prstGeom prst="rect">
              <a:avLst/>
            </a:prstGeom>
            <a:noFill/>
          </p:spPr>
          <p:txBody>
            <a:bodyPr wrap="square" rtlCol="0">
              <a:spAutoFit/>
            </a:bodyPr>
            <a:lstStyle/>
            <a:p>
              <a:r>
                <a:rPr lang="en-US" sz="1100" dirty="0">
                  <a:solidFill>
                    <a:srgbClr val="F2F2F2"/>
                  </a:solidFill>
                </a:rPr>
                <a:t>Increased Employee Engagement</a:t>
              </a:r>
            </a:p>
          </p:txBody>
        </p:sp>
      </p:grpSp>
      <p:pic>
        <p:nvPicPr>
          <p:cNvPr id="26" name="Picture 25"/>
          <p:cNvPicPr>
            <a:picLocks noChangeAspect="1"/>
          </p:cNvPicPr>
          <p:nvPr/>
        </p:nvPicPr>
        <p:blipFill>
          <a:blip r:embed="rId4" cstate="print">
            <a:alphaModFix amt="55000"/>
            <a:extLst>
              <a:ext uri="{28A0092B-C50C-407E-A947-70E740481C1C}">
                <a14:useLocalDpi xmlns:a14="http://schemas.microsoft.com/office/drawing/2010/main"/>
              </a:ext>
            </a:extLst>
          </a:blip>
          <a:stretch>
            <a:fillRect/>
          </a:stretch>
        </p:blipFill>
        <p:spPr>
          <a:xfrm>
            <a:off x="8358396" y="4503352"/>
            <a:ext cx="463064" cy="378254"/>
          </a:xfrm>
          <a:prstGeom prst="rect">
            <a:avLst/>
          </a:prstGeom>
        </p:spPr>
      </p:pic>
      <p:pic>
        <p:nvPicPr>
          <p:cNvPr id="27" name="Picture 26"/>
          <p:cNvPicPr>
            <a:picLocks noChangeAspect="1"/>
          </p:cNvPicPr>
          <p:nvPr/>
        </p:nvPicPr>
        <p:blipFill>
          <a:blip r:embed="rId5" cstate="print">
            <a:alphaModFix amt="55000"/>
            <a:extLst>
              <a:ext uri="{28A0092B-C50C-407E-A947-70E740481C1C}">
                <a14:useLocalDpi xmlns:a14="http://schemas.microsoft.com/office/drawing/2010/main"/>
              </a:ext>
            </a:extLst>
          </a:blip>
          <a:stretch>
            <a:fillRect/>
          </a:stretch>
        </p:blipFill>
        <p:spPr>
          <a:xfrm>
            <a:off x="5827005" y="4421541"/>
            <a:ext cx="598509" cy="488893"/>
          </a:xfrm>
          <a:prstGeom prst="rect">
            <a:avLst/>
          </a:prstGeom>
        </p:spPr>
      </p:pic>
      <p:pic>
        <p:nvPicPr>
          <p:cNvPr id="28" name="Picture 27"/>
          <p:cNvPicPr>
            <a:picLocks noChangeAspect="1"/>
          </p:cNvPicPr>
          <p:nvPr/>
        </p:nvPicPr>
        <p:blipFill>
          <a:blip r:embed="rId6" cstate="print">
            <a:alphaModFix amt="55000"/>
            <a:extLst>
              <a:ext uri="{28A0092B-C50C-407E-A947-70E740481C1C}">
                <a14:useLocalDpi xmlns:a14="http://schemas.microsoft.com/office/drawing/2010/main"/>
              </a:ext>
            </a:extLst>
          </a:blip>
          <a:stretch>
            <a:fillRect/>
          </a:stretch>
        </p:blipFill>
        <p:spPr>
          <a:xfrm>
            <a:off x="3559276" y="4443378"/>
            <a:ext cx="470400" cy="384246"/>
          </a:xfrm>
          <a:prstGeom prst="rect">
            <a:avLst/>
          </a:prstGeom>
        </p:spPr>
      </p:pic>
      <p:pic>
        <p:nvPicPr>
          <p:cNvPr id="29" name="Picture 28" descr="time-to-market.png"/>
          <p:cNvPicPr>
            <a:picLocks noChangeAspect="1"/>
          </p:cNvPicPr>
          <p:nvPr/>
        </p:nvPicPr>
        <p:blipFill>
          <a:blip r:embed="rId7" cstate="print">
            <a:alphaModFix amt="55000"/>
            <a:extLst>
              <a:ext uri="{28A0092B-C50C-407E-A947-70E740481C1C}">
                <a14:useLocalDpi xmlns:a14="http://schemas.microsoft.com/office/drawing/2010/main"/>
              </a:ext>
            </a:extLst>
          </a:blip>
          <a:stretch>
            <a:fillRect/>
          </a:stretch>
        </p:blipFill>
        <p:spPr>
          <a:xfrm>
            <a:off x="1323046" y="4393514"/>
            <a:ext cx="692134" cy="503192"/>
          </a:xfrm>
          <a:prstGeom prst="rect">
            <a:avLst/>
          </a:prstGeom>
        </p:spPr>
      </p:pic>
      <p:cxnSp>
        <p:nvCxnSpPr>
          <p:cNvPr id="30" name="Straight Connector 29"/>
          <p:cNvCxnSpPr/>
          <p:nvPr/>
        </p:nvCxnSpPr>
        <p:spPr bwMode="auto">
          <a:xfrm>
            <a:off x="2294597" y="4009082"/>
            <a:ext cx="0" cy="1206024"/>
          </a:xfrm>
          <a:prstGeom prst="line">
            <a:avLst/>
          </a:prstGeom>
          <a:solidFill>
            <a:schemeClr val="accent1"/>
          </a:solidFill>
          <a:ln w="12700" cap="flat" cmpd="sng" algn="ctr">
            <a:solidFill>
              <a:schemeClr val="bg1">
                <a:lumMod val="95000"/>
                <a:alpha val="40000"/>
              </a:schemeClr>
            </a:solidFill>
            <a:prstDash val="solid"/>
            <a:round/>
            <a:headEnd type="none" w="med" len="med"/>
            <a:tailEnd type="none" w="med" len="med"/>
          </a:ln>
          <a:effectLst/>
        </p:spPr>
      </p:cxnSp>
      <p:cxnSp>
        <p:nvCxnSpPr>
          <p:cNvPr id="31" name="Straight Connector 30"/>
          <p:cNvCxnSpPr/>
          <p:nvPr/>
        </p:nvCxnSpPr>
        <p:spPr bwMode="auto">
          <a:xfrm>
            <a:off x="4389754" y="4009082"/>
            <a:ext cx="0" cy="1216833"/>
          </a:xfrm>
          <a:prstGeom prst="line">
            <a:avLst/>
          </a:prstGeom>
          <a:solidFill>
            <a:schemeClr val="accent1"/>
          </a:solidFill>
          <a:ln w="12700" cap="flat" cmpd="sng" algn="ctr">
            <a:solidFill>
              <a:schemeClr val="bg1">
                <a:lumMod val="95000"/>
                <a:alpha val="40000"/>
              </a:schemeClr>
            </a:solidFill>
            <a:prstDash val="solid"/>
            <a:round/>
            <a:headEnd type="none" w="med" len="med"/>
            <a:tailEnd type="none" w="med" len="med"/>
          </a:ln>
          <a:effectLst/>
        </p:spPr>
      </p:cxnSp>
      <p:cxnSp>
        <p:nvCxnSpPr>
          <p:cNvPr id="32" name="Straight Connector 31"/>
          <p:cNvCxnSpPr/>
          <p:nvPr/>
        </p:nvCxnSpPr>
        <p:spPr bwMode="auto">
          <a:xfrm>
            <a:off x="6586510" y="4009082"/>
            <a:ext cx="1277" cy="1200620"/>
          </a:xfrm>
          <a:prstGeom prst="line">
            <a:avLst/>
          </a:prstGeom>
          <a:solidFill>
            <a:schemeClr val="accent1"/>
          </a:solidFill>
          <a:ln w="12700" cap="flat" cmpd="sng" algn="ctr">
            <a:solidFill>
              <a:schemeClr val="bg1">
                <a:lumMod val="95000"/>
                <a:alpha val="40000"/>
              </a:schemeClr>
            </a:solidFill>
            <a:prstDash val="solid"/>
            <a:round/>
            <a:headEnd type="none" w="med" len="med"/>
            <a:tailEnd type="none" w="med" len="med"/>
          </a:ln>
          <a:effectLst/>
        </p:spPr>
      </p:cxnSp>
      <p:sp>
        <p:nvSpPr>
          <p:cNvPr id="33" name="TextBox 32"/>
          <p:cNvSpPr txBox="1"/>
          <p:nvPr/>
        </p:nvSpPr>
        <p:spPr>
          <a:xfrm>
            <a:off x="2585954" y="899943"/>
            <a:ext cx="1062329" cy="492443"/>
          </a:xfrm>
          <a:prstGeom prst="rect">
            <a:avLst/>
          </a:prstGeom>
          <a:noFill/>
        </p:spPr>
        <p:txBody>
          <a:bodyPr wrap="square" lIns="0" tIns="0" rIns="0" bIns="0" rtlCol="0">
            <a:spAutoFit/>
          </a:bodyPr>
          <a:lstStyle/>
          <a:p>
            <a:r>
              <a:rPr lang="en-US" sz="3200" b="1" dirty="0">
                <a:solidFill>
                  <a:srgbClr val="595959"/>
                </a:solidFill>
                <a:latin typeface="Arial" charset="0"/>
                <a:ea typeface="Arial" charset="0"/>
                <a:cs typeface="Arial" charset="0"/>
              </a:rPr>
              <a:t>180</a:t>
            </a:r>
            <a:endParaRPr lang="en-US" sz="3200" dirty="0">
              <a:solidFill>
                <a:srgbClr val="595959"/>
              </a:solidFill>
              <a:latin typeface="Arial" charset="0"/>
              <a:ea typeface="Arial" charset="0"/>
              <a:cs typeface="Arial" charset="0"/>
            </a:endParaRPr>
          </a:p>
        </p:txBody>
      </p:sp>
      <p:pic>
        <p:nvPicPr>
          <p:cNvPr id="34" name="Picture 33"/>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1486258" y="1373750"/>
            <a:ext cx="545742" cy="469336"/>
          </a:xfrm>
          <a:prstGeom prst="rect">
            <a:avLst/>
          </a:prstGeom>
        </p:spPr>
      </p:pic>
      <p:sp>
        <p:nvSpPr>
          <p:cNvPr id="35" name="TextBox 34"/>
          <p:cNvSpPr txBox="1"/>
          <p:nvPr/>
        </p:nvSpPr>
        <p:spPr>
          <a:xfrm>
            <a:off x="2537076" y="1313219"/>
            <a:ext cx="2224424" cy="400110"/>
          </a:xfrm>
          <a:prstGeom prst="rect">
            <a:avLst/>
          </a:prstGeom>
          <a:noFill/>
        </p:spPr>
        <p:txBody>
          <a:bodyPr wrap="square" rtlCol="0">
            <a:spAutoFit/>
          </a:bodyPr>
          <a:lstStyle/>
          <a:p>
            <a:r>
              <a:rPr lang="en-US" sz="1000" dirty="0">
                <a:solidFill>
                  <a:srgbClr val="565656"/>
                </a:solidFill>
              </a:rPr>
              <a:t>Scaled Agile Partners</a:t>
            </a:r>
          </a:p>
          <a:p>
            <a:r>
              <a:rPr lang="en-US" sz="1000" dirty="0">
                <a:solidFill>
                  <a:srgbClr val="565656"/>
                </a:solidFill>
              </a:rPr>
              <a:t>in 50 countries</a:t>
            </a:r>
          </a:p>
        </p:txBody>
      </p:sp>
      <p:sp>
        <p:nvSpPr>
          <p:cNvPr id="36" name="TextBox 35"/>
          <p:cNvSpPr txBox="1"/>
          <p:nvPr/>
        </p:nvSpPr>
        <p:spPr>
          <a:xfrm>
            <a:off x="346306" y="853776"/>
            <a:ext cx="1742859" cy="584776"/>
          </a:xfrm>
          <a:prstGeom prst="rect">
            <a:avLst/>
          </a:prstGeom>
          <a:noFill/>
        </p:spPr>
        <p:txBody>
          <a:bodyPr wrap="square" rtlCol="0">
            <a:spAutoFit/>
          </a:bodyPr>
          <a:lstStyle/>
          <a:p>
            <a:r>
              <a:rPr lang="en-US" sz="3200" b="1" dirty="0">
                <a:solidFill>
                  <a:schemeClr val="tx2">
                    <a:lumMod val="65000"/>
                    <a:lumOff val="35000"/>
                  </a:schemeClr>
                </a:solidFill>
                <a:latin typeface="Arial" charset="0"/>
                <a:ea typeface="Arial" charset="0"/>
                <a:cs typeface="Arial" charset="0"/>
              </a:rPr>
              <a:t>250,000</a:t>
            </a:r>
            <a:endParaRPr lang="en-US" sz="3200" dirty="0">
              <a:solidFill>
                <a:schemeClr val="tx2">
                  <a:lumMod val="65000"/>
                  <a:lumOff val="35000"/>
                </a:schemeClr>
              </a:solidFill>
              <a:latin typeface="Arial" charset="0"/>
              <a:ea typeface="Arial" charset="0"/>
              <a:cs typeface="Arial" charset="0"/>
            </a:endParaRPr>
          </a:p>
        </p:txBody>
      </p:sp>
      <p:sp>
        <p:nvSpPr>
          <p:cNvPr id="37" name="TextBox 36"/>
          <p:cNvSpPr txBox="1"/>
          <p:nvPr/>
        </p:nvSpPr>
        <p:spPr>
          <a:xfrm>
            <a:off x="367923" y="1318623"/>
            <a:ext cx="1377651" cy="553998"/>
          </a:xfrm>
          <a:prstGeom prst="rect">
            <a:avLst/>
          </a:prstGeom>
          <a:noFill/>
        </p:spPr>
        <p:txBody>
          <a:bodyPr wrap="square" rtlCol="0">
            <a:spAutoFit/>
          </a:bodyPr>
          <a:lstStyle/>
          <a:p>
            <a:r>
              <a:rPr lang="en-US" sz="1000" dirty="0">
                <a:solidFill>
                  <a:srgbClr val="565656"/>
                </a:solidFill>
              </a:rPr>
              <a:t>SAFe-trained </a:t>
            </a:r>
            <a:br>
              <a:rPr lang="en-US" sz="1000" dirty="0">
                <a:solidFill>
                  <a:srgbClr val="565656"/>
                </a:solidFill>
              </a:rPr>
            </a:br>
            <a:r>
              <a:rPr lang="en-US" sz="1000" dirty="0">
                <a:solidFill>
                  <a:srgbClr val="565656"/>
                </a:solidFill>
              </a:rPr>
              <a:t>professionals</a:t>
            </a:r>
          </a:p>
          <a:p>
            <a:r>
              <a:rPr lang="en-US" sz="1000" dirty="0">
                <a:solidFill>
                  <a:srgbClr val="565656"/>
                </a:solidFill>
              </a:rPr>
              <a:t>in 110+ countries</a:t>
            </a:r>
          </a:p>
        </p:txBody>
      </p:sp>
      <p:sp>
        <p:nvSpPr>
          <p:cNvPr id="39" name="TextBox 38"/>
          <p:cNvSpPr txBox="1"/>
          <p:nvPr/>
        </p:nvSpPr>
        <p:spPr>
          <a:xfrm>
            <a:off x="5632824" y="2514879"/>
            <a:ext cx="3383785" cy="868764"/>
          </a:xfrm>
          <a:prstGeom prst="rect">
            <a:avLst/>
          </a:prstGeom>
          <a:noFill/>
        </p:spPr>
        <p:txBody>
          <a:bodyPr wrap="square" rtlCol="0">
            <a:spAutoFit/>
          </a:bodyPr>
          <a:lstStyle/>
          <a:p>
            <a:pPr>
              <a:lnSpc>
                <a:spcPts val="1350"/>
              </a:lnSpc>
              <a:spcBef>
                <a:spcPts val="1200"/>
              </a:spcBef>
              <a:spcAft>
                <a:spcPts val="600"/>
              </a:spcAft>
            </a:pPr>
            <a:r>
              <a:rPr lang="en-US" sz="900" dirty="0">
                <a:solidFill>
                  <a:srgbClr val="565656"/>
                </a:solidFill>
              </a:rPr>
              <a:t>SAFe cited as preferred solution for scaling Agile:</a:t>
            </a:r>
            <a:endParaRPr lang="en-US" sz="900" b="1" dirty="0">
              <a:solidFill>
                <a:srgbClr val="FDC338"/>
              </a:solidFill>
            </a:endParaRPr>
          </a:p>
          <a:p>
            <a:pPr>
              <a:lnSpc>
                <a:spcPts val="1350"/>
              </a:lnSpc>
            </a:pPr>
            <a:r>
              <a:rPr lang="en-US" sz="900" b="1" dirty="0"/>
              <a:t>• </a:t>
            </a:r>
            <a:r>
              <a:rPr lang="en-US" sz="900" b="1" dirty="0">
                <a:solidFill>
                  <a:srgbClr val="565656"/>
                </a:solidFill>
              </a:rPr>
              <a:t>2017 Agile in the Enterprise survey by Gartner Research</a:t>
            </a:r>
          </a:p>
          <a:p>
            <a:pPr>
              <a:lnSpc>
                <a:spcPts val="1350"/>
              </a:lnSpc>
            </a:pPr>
            <a:r>
              <a:rPr lang="en-US" sz="900" b="1" dirty="0"/>
              <a:t>• </a:t>
            </a:r>
            <a:r>
              <a:rPr lang="en-US" sz="900" b="1" dirty="0">
                <a:solidFill>
                  <a:srgbClr val="565656"/>
                </a:solidFill>
              </a:rPr>
              <a:t>12</a:t>
            </a:r>
            <a:r>
              <a:rPr lang="en-US" sz="900" b="1" baseline="30000" dirty="0">
                <a:solidFill>
                  <a:srgbClr val="565656"/>
                </a:solidFill>
              </a:rPr>
              <a:t>th</a:t>
            </a:r>
            <a:r>
              <a:rPr lang="en-US" sz="900" b="1" dirty="0">
                <a:solidFill>
                  <a:srgbClr val="565656"/>
                </a:solidFill>
              </a:rPr>
              <a:t> Annual State of Agile Report by VersionOne</a:t>
            </a:r>
          </a:p>
          <a:p>
            <a:pPr>
              <a:lnSpc>
                <a:spcPts val="1350"/>
              </a:lnSpc>
            </a:pPr>
            <a:r>
              <a:rPr lang="en-US" sz="900" b="1" dirty="0">
                <a:solidFill>
                  <a:srgbClr val="565656"/>
                </a:solidFill>
              </a:rPr>
              <a:t>• </a:t>
            </a:r>
            <a:r>
              <a:rPr lang="en-US" sz="900" b="1" dirty="0"/>
              <a:t>2017 Scaling Agile Report by cPrime</a:t>
            </a:r>
          </a:p>
        </p:txBody>
      </p:sp>
      <p:sp>
        <p:nvSpPr>
          <p:cNvPr id="42" name="TextBox 41"/>
          <p:cNvSpPr txBox="1"/>
          <p:nvPr/>
        </p:nvSpPr>
        <p:spPr>
          <a:xfrm>
            <a:off x="5632824" y="1571770"/>
            <a:ext cx="3020162" cy="620683"/>
          </a:xfrm>
          <a:prstGeom prst="rect">
            <a:avLst/>
          </a:prstGeom>
          <a:noFill/>
        </p:spPr>
        <p:txBody>
          <a:bodyPr wrap="square" rtlCol="0">
            <a:spAutoFit/>
          </a:bodyPr>
          <a:lstStyle/>
          <a:p>
            <a:r>
              <a:rPr lang="en-US" sz="1100" b="1" dirty="0">
                <a:solidFill>
                  <a:srgbClr val="9EB31C"/>
                </a:solidFill>
              </a:rPr>
              <a:t>Configurable</a:t>
            </a:r>
            <a:r>
              <a:rPr lang="en-US" sz="1100" b="1" dirty="0">
                <a:solidFill>
                  <a:srgbClr val="F9C143"/>
                </a:solidFill>
              </a:rPr>
              <a:t> </a:t>
            </a:r>
          </a:p>
          <a:p>
            <a:pPr>
              <a:lnSpc>
                <a:spcPts val="1350"/>
              </a:lnSpc>
            </a:pPr>
            <a:r>
              <a:rPr lang="en-US" sz="900" dirty="0">
                <a:solidFill>
                  <a:srgbClr val="565656"/>
                </a:solidFill>
              </a:rPr>
              <a:t>SAFe is able to accommodate enterprises of all </a:t>
            </a:r>
            <a:br>
              <a:rPr lang="en-US" sz="900" dirty="0">
                <a:solidFill>
                  <a:srgbClr val="565656"/>
                </a:solidFill>
              </a:rPr>
            </a:br>
            <a:r>
              <a:rPr lang="en-US" sz="900" dirty="0">
                <a:solidFill>
                  <a:srgbClr val="565656"/>
                </a:solidFill>
              </a:rPr>
              <a:t>sizes and industries</a:t>
            </a:r>
          </a:p>
        </p:txBody>
      </p:sp>
      <p:sp>
        <p:nvSpPr>
          <p:cNvPr id="43" name="TextBox 42"/>
          <p:cNvSpPr txBox="1"/>
          <p:nvPr/>
        </p:nvSpPr>
        <p:spPr>
          <a:xfrm>
            <a:off x="4199106" y="1906371"/>
            <a:ext cx="1242618" cy="1609351"/>
          </a:xfrm>
          <a:prstGeom prst="rect">
            <a:avLst/>
          </a:prstGeom>
          <a:noFill/>
        </p:spPr>
        <p:txBody>
          <a:bodyPr wrap="square" rtlCol="0">
            <a:spAutoFit/>
          </a:bodyPr>
          <a:lstStyle/>
          <a:p>
            <a:pPr>
              <a:lnSpc>
                <a:spcPts val="1480"/>
              </a:lnSpc>
              <a:spcBef>
                <a:spcPts val="0"/>
              </a:spcBef>
            </a:pPr>
            <a:r>
              <a:rPr lang="en-US" sz="900" dirty="0"/>
              <a:t>A comprehensive role-based curriculum </a:t>
            </a:r>
            <a:br>
              <a:rPr lang="en-US" sz="900" dirty="0"/>
            </a:br>
            <a:r>
              <a:rPr lang="en-US" sz="900" dirty="0"/>
              <a:t>for successfully implementing SAFe and skills validation through professional certification.</a:t>
            </a:r>
          </a:p>
        </p:txBody>
      </p:sp>
      <p:cxnSp>
        <p:nvCxnSpPr>
          <p:cNvPr id="44" name="Straight Connector 43"/>
          <p:cNvCxnSpPr/>
          <p:nvPr/>
        </p:nvCxnSpPr>
        <p:spPr bwMode="auto">
          <a:xfrm flipH="1" flipV="1">
            <a:off x="5458177" y="2229015"/>
            <a:ext cx="3685823" cy="9172"/>
          </a:xfrm>
          <a:prstGeom prst="line">
            <a:avLst/>
          </a:prstGeom>
          <a:solidFill>
            <a:schemeClr val="accent1"/>
          </a:solidFill>
          <a:ln w="12700" cap="flat" cmpd="sng" algn="ctr">
            <a:solidFill>
              <a:schemeClr val="bg1">
                <a:lumMod val="75000"/>
              </a:schemeClr>
            </a:solidFill>
            <a:prstDash val="solid"/>
            <a:round/>
            <a:headEnd type="none" w="med" len="med"/>
            <a:tailEnd type="none" w="med" len="med"/>
          </a:ln>
          <a:effectLst/>
        </p:spPr>
      </p:cxnSp>
      <p:cxnSp>
        <p:nvCxnSpPr>
          <p:cNvPr id="45" name="Straight Connector 44"/>
          <p:cNvCxnSpPr/>
          <p:nvPr/>
        </p:nvCxnSpPr>
        <p:spPr bwMode="auto">
          <a:xfrm flipH="1" flipV="1">
            <a:off x="5458177" y="1521356"/>
            <a:ext cx="3685823" cy="9172"/>
          </a:xfrm>
          <a:prstGeom prst="line">
            <a:avLst/>
          </a:prstGeom>
          <a:solidFill>
            <a:schemeClr val="accent1"/>
          </a:solidFill>
          <a:ln w="12700" cap="flat" cmpd="sng" algn="ctr">
            <a:solidFill>
              <a:schemeClr val="bg1">
                <a:lumMod val="75000"/>
              </a:schemeClr>
            </a:solidFill>
            <a:prstDash val="solid"/>
            <a:round/>
            <a:headEnd type="none" w="med" len="med"/>
            <a:tailEnd type="none" w="med" len="med"/>
          </a:ln>
          <a:effectLst/>
        </p:spPr>
      </p:cxnSp>
      <p:cxnSp>
        <p:nvCxnSpPr>
          <p:cNvPr id="46" name="Straight Connector 45"/>
          <p:cNvCxnSpPr/>
          <p:nvPr/>
        </p:nvCxnSpPr>
        <p:spPr bwMode="auto">
          <a:xfrm flipH="1" flipV="1">
            <a:off x="5452533" y="852310"/>
            <a:ext cx="361" cy="2703690"/>
          </a:xfrm>
          <a:prstGeom prst="line">
            <a:avLst/>
          </a:prstGeom>
          <a:solidFill>
            <a:schemeClr val="accent1"/>
          </a:solidFill>
          <a:ln w="12700" cap="flat" cmpd="sng" algn="ctr">
            <a:solidFill>
              <a:schemeClr val="bg1">
                <a:lumMod val="75000"/>
              </a:schemeClr>
            </a:solidFill>
            <a:prstDash val="solid"/>
            <a:round/>
            <a:headEnd type="none" w="med" len="med"/>
            <a:tailEnd type="none" w="med" len="med"/>
          </a:ln>
          <a:effectLst/>
        </p:spPr>
      </p:cxnSp>
      <p:cxnSp>
        <p:nvCxnSpPr>
          <p:cNvPr id="47" name="Straight Connector 46"/>
          <p:cNvCxnSpPr/>
          <p:nvPr/>
        </p:nvCxnSpPr>
        <p:spPr bwMode="auto">
          <a:xfrm flipH="1" flipV="1">
            <a:off x="0" y="1872517"/>
            <a:ext cx="4177489" cy="13568"/>
          </a:xfrm>
          <a:prstGeom prst="line">
            <a:avLst/>
          </a:prstGeom>
          <a:solidFill>
            <a:schemeClr val="accent1"/>
          </a:solidFill>
          <a:ln w="12700" cap="flat" cmpd="sng" algn="ctr">
            <a:solidFill>
              <a:schemeClr val="bg1">
                <a:lumMod val="75000"/>
              </a:schemeClr>
            </a:solidFill>
            <a:prstDash val="solid"/>
            <a:round/>
            <a:headEnd type="none" w="med" len="med"/>
            <a:tailEnd type="none" w="med" len="med"/>
          </a:ln>
          <a:effectLst/>
        </p:spPr>
      </p:cxnSp>
      <p:sp>
        <p:nvSpPr>
          <p:cNvPr id="48" name="Isosceles Triangle 47"/>
          <p:cNvSpPr/>
          <p:nvPr/>
        </p:nvSpPr>
        <p:spPr bwMode="auto">
          <a:xfrm rot="5400000">
            <a:off x="2184905" y="4547262"/>
            <a:ext cx="333021" cy="101600"/>
          </a:xfrm>
          <a:prstGeom prst="triangle">
            <a:avLst/>
          </a:prstGeom>
          <a:solidFill>
            <a:schemeClr val="bg1">
              <a:lumMod val="85000"/>
              <a:alpha val="45000"/>
            </a:schemeClr>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l" eaLnBrk="0" hangingPunct="0">
              <a:spcBef>
                <a:spcPct val="20000"/>
              </a:spcBef>
            </a:pPr>
            <a:endParaRPr lang="en-US" sz="2200" i="1" dirty="0"/>
          </a:p>
        </p:txBody>
      </p:sp>
      <p:sp>
        <p:nvSpPr>
          <p:cNvPr id="49" name="Isosceles Triangle 48"/>
          <p:cNvSpPr/>
          <p:nvPr/>
        </p:nvSpPr>
        <p:spPr bwMode="auto">
          <a:xfrm rot="5400000">
            <a:off x="4278593" y="4547262"/>
            <a:ext cx="333021" cy="101600"/>
          </a:xfrm>
          <a:prstGeom prst="triangle">
            <a:avLst/>
          </a:prstGeom>
          <a:solidFill>
            <a:schemeClr val="bg1">
              <a:lumMod val="85000"/>
              <a:alpha val="50000"/>
            </a:schemeClr>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l" eaLnBrk="0" hangingPunct="0">
              <a:spcBef>
                <a:spcPct val="20000"/>
              </a:spcBef>
            </a:pPr>
            <a:endParaRPr lang="en-US" sz="2200" i="1" dirty="0"/>
          </a:p>
        </p:txBody>
      </p:sp>
      <p:sp>
        <p:nvSpPr>
          <p:cNvPr id="50" name="Isosceles Triangle 49"/>
          <p:cNvSpPr/>
          <p:nvPr/>
        </p:nvSpPr>
        <p:spPr bwMode="auto">
          <a:xfrm rot="5400000">
            <a:off x="6473879" y="4547262"/>
            <a:ext cx="333021" cy="101600"/>
          </a:xfrm>
          <a:prstGeom prst="triangle">
            <a:avLst/>
          </a:prstGeom>
          <a:solidFill>
            <a:schemeClr val="bg1">
              <a:lumMod val="85000"/>
              <a:alpha val="50000"/>
            </a:schemeClr>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l" eaLnBrk="0" hangingPunct="0">
              <a:spcBef>
                <a:spcPct val="20000"/>
              </a:spcBef>
            </a:pPr>
            <a:endParaRPr lang="en-US" sz="2200" i="1" dirty="0"/>
          </a:p>
        </p:txBody>
      </p:sp>
      <p:sp>
        <p:nvSpPr>
          <p:cNvPr id="51" name="Isosceles Triangle 50"/>
          <p:cNvSpPr/>
          <p:nvPr/>
        </p:nvSpPr>
        <p:spPr bwMode="auto">
          <a:xfrm rot="5400000">
            <a:off x="5342296" y="1149069"/>
            <a:ext cx="333021" cy="101600"/>
          </a:xfrm>
          <a:prstGeom prst="triangle">
            <a:avLst/>
          </a:prstGeom>
          <a:solidFill>
            <a:schemeClr val="bg1">
              <a:lumMod val="85000"/>
            </a:schemeClr>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l" eaLnBrk="0" hangingPunct="0">
              <a:spcBef>
                <a:spcPct val="20000"/>
              </a:spcBef>
            </a:pPr>
            <a:endParaRPr lang="en-US" sz="2200" i="1" dirty="0"/>
          </a:p>
        </p:txBody>
      </p:sp>
      <p:sp>
        <p:nvSpPr>
          <p:cNvPr id="52" name="Isosceles Triangle 51"/>
          <p:cNvSpPr/>
          <p:nvPr/>
        </p:nvSpPr>
        <p:spPr bwMode="auto">
          <a:xfrm rot="5400000">
            <a:off x="5343376" y="1802688"/>
            <a:ext cx="333021" cy="101600"/>
          </a:xfrm>
          <a:prstGeom prst="triangle">
            <a:avLst/>
          </a:prstGeom>
          <a:solidFill>
            <a:schemeClr val="bg1">
              <a:lumMod val="85000"/>
            </a:schemeClr>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l" eaLnBrk="0" hangingPunct="0">
              <a:spcBef>
                <a:spcPct val="20000"/>
              </a:spcBef>
            </a:pPr>
            <a:endParaRPr lang="en-US" sz="2200" i="1" dirty="0"/>
          </a:p>
        </p:txBody>
      </p:sp>
      <p:sp>
        <p:nvSpPr>
          <p:cNvPr id="53" name="Isosceles Triangle 52"/>
          <p:cNvSpPr/>
          <p:nvPr/>
        </p:nvSpPr>
        <p:spPr bwMode="auto">
          <a:xfrm rot="5400000">
            <a:off x="5343376" y="2781611"/>
            <a:ext cx="333021" cy="101600"/>
          </a:xfrm>
          <a:prstGeom prst="triangle">
            <a:avLst/>
          </a:prstGeom>
          <a:solidFill>
            <a:schemeClr val="bg1">
              <a:lumMod val="85000"/>
            </a:schemeClr>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l" eaLnBrk="0" hangingPunct="0">
              <a:spcBef>
                <a:spcPct val="20000"/>
              </a:spcBef>
            </a:pPr>
            <a:endParaRPr lang="en-US" sz="2200" i="1" dirty="0"/>
          </a:p>
        </p:txBody>
      </p:sp>
      <p:sp>
        <p:nvSpPr>
          <p:cNvPr id="54" name="TextBox 53"/>
          <p:cNvSpPr txBox="1"/>
          <p:nvPr/>
        </p:nvSpPr>
        <p:spPr>
          <a:xfrm>
            <a:off x="6110941" y="200771"/>
            <a:ext cx="2412999" cy="523220"/>
          </a:xfrm>
          <a:prstGeom prst="rect">
            <a:avLst/>
          </a:prstGeom>
          <a:solidFill>
            <a:schemeClr val="tx1">
              <a:lumMod val="50000"/>
              <a:alpha val="0"/>
            </a:schemeClr>
          </a:solidFill>
        </p:spPr>
        <p:txBody>
          <a:bodyPr wrap="square" rtlCol="0">
            <a:spAutoFit/>
          </a:bodyPr>
          <a:lstStyle/>
          <a:p>
            <a:pPr algn="r"/>
            <a:r>
              <a:rPr lang="en-US" sz="2800" dirty="0"/>
              <a:t>Why SAFe?</a:t>
            </a:r>
            <a:endParaRPr lang="en-US" sz="2800" baseline="96000" dirty="0">
              <a:solidFill>
                <a:schemeClr val="tx1">
                  <a:lumMod val="75000"/>
                </a:schemeClr>
              </a:solidFill>
            </a:endParaRPr>
          </a:p>
        </p:txBody>
      </p:sp>
      <p:sp>
        <p:nvSpPr>
          <p:cNvPr id="55" name="Title 1"/>
          <p:cNvSpPr txBox="1">
            <a:spLocks/>
          </p:cNvSpPr>
          <p:nvPr/>
        </p:nvSpPr>
        <p:spPr>
          <a:xfrm>
            <a:off x="7367666" y="5002067"/>
            <a:ext cx="1824972" cy="211617"/>
          </a:xfrm>
          <a:prstGeom prst="rect">
            <a:avLst/>
          </a:prstGeom>
        </p:spPr>
        <p:txBody>
          <a:bodyPr>
            <a:noAutofit/>
          </a:bodyPr>
          <a:lstStyle>
            <a:lvl1pPr algn="l" rtl="0" eaLnBrk="1" fontAlgn="base" hangingPunct="1">
              <a:spcBef>
                <a:spcPct val="0"/>
              </a:spcBef>
              <a:spcAft>
                <a:spcPct val="0"/>
              </a:spcAft>
              <a:defRPr lang="en-US" altLang="en-US" sz="2400" b="0" dirty="0" smtClean="0">
                <a:solidFill>
                  <a:srgbClr val="565656"/>
                </a:solidFill>
                <a:latin typeface="+mj-lt"/>
                <a:ea typeface="+mj-ea"/>
                <a:cs typeface="+mj-cs"/>
              </a:defRPr>
            </a:lvl1pPr>
            <a:lvl2pPr algn="l" rtl="0" eaLnBrk="1" fontAlgn="base" hangingPunct="1">
              <a:spcBef>
                <a:spcPct val="0"/>
              </a:spcBef>
              <a:spcAft>
                <a:spcPct val="0"/>
              </a:spcAft>
              <a:defRPr sz="2400" b="1">
                <a:solidFill>
                  <a:schemeClr val="tx2"/>
                </a:solidFill>
                <a:latin typeface="Arial" charset="0"/>
                <a:cs typeface="Arial" charset="0"/>
              </a:defRPr>
            </a:lvl2pPr>
            <a:lvl3pPr algn="l" rtl="0" eaLnBrk="1" fontAlgn="base" hangingPunct="1">
              <a:spcBef>
                <a:spcPct val="0"/>
              </a:spcBef>
              <a:spcAft>
                <a:spcPct val="0"/>
              </a:spcAft>
              <a:defRPr sz="2400" b="1">
                <a:solidFill>
                  <a:schemeClr val="tx2"/>
                </a:solidFill>
                <a:latin typeface="Arial" charset="0"/>
                <a:cs typeface="Arial" charset="0"/>
              </a:defRPr>
            </a:lvl3pPr>
            <a:lvl4pPr algn="l" rtl="0" eaLnBrk="1" fontAlgn="base" hangingPunct="1">
              <a:spcBef>
                <a:spcPct val="0"/>
              </a:spcBef>
              <a:spcAft>
                <a:spcPct val="0"/>
              </a:spcAft>
              <a:defRPr sz="2400" b="1">
                <a:solidFill>
                  <a:schemeClr val="tx2"/>
                </a:solidFill>
                <a:latin typeface="Arial" charset="0"/>
                <a:cs typeface="Arial" charset="0"/>
              </a:defRPr>
            </a:lvl4pPr>
            <a:lvl5pPr algn="l" rtl="0" eaLnBrk="1" fontAlgn="base" hangingPunct="1">
              <a:spcBef>
                <a:spcPct val="0"/>
              </a:spcBef>
              <a:spcAft>
                <a:spcPct val="0"/>
              </a:spcAft>
              <a:defRPr sz="2400" b="1">
                <a:solidFill>
                  <a:schemeClr val="tx2"/>
                </a:solidFill>
                <a:latin typeface="Arial" charset="0"/>
                <a:cs typeface="Arial" charset="0"/>
              </a:defRPr>
            </a:lvl5pPr>
            <a:lvl6pPr marL="342900" algn="l" rtl="0" eaLnBrk="1" fontAlgn="base" hangingPunct="1">
              <a:spcBef>
                <a:spcPct val="0"/>
              </a:spcBef>
              <a:spcAft>
                <a:spcPct val="0"/>
              </a:spcAft>
              <a:defRPr sz="2400" b="1">
                <a:solidFill>
                  <a:schemeClr val="tx2"/>
                </a:solidFill>
                <a:latin typeface="Arial" charset="0"/>
                <a:cs typeface="Arial" charset="0"/>
              </a:defRPr>
            </a:lvl6pPr>
            <a:lvl7pPr marL="685800" algn="l" rtl="0" eaLnBrk="1" fontAlgn="base" hangingPunct="1">
              <a:spcBef>
                <a:spcPct val="0"/>
              </a:spcBef>
              <a:spcAft>
                <a:spcPct val="0"/>
              </a:spcAft>
              <a:defRPr sz="2400" b="1">
                <a:solidFill>
                  <a:schemeClr val="tx2"/>
                </a:solidFill>
                <a:latin typeface="Arial" charset="0"/>
                <a:cs typeface="Arial" charset="0"/>
              </a:defRPr>
            </a:lvl7pPr>
            <a:lvl8pPr marL="1028700" algn="l" rtl="0" eaLnBrk="1" fontAlgn="base" hangingPunct="1">
              <a:spcBef>
                <a:spcPct val="0"/>
              </a:spcBef>
              <a:spcAft>
                <a:spcPct val="0"/>
              </a:spcAft>
              <a:defRPr sz="2400" b="1">
                <a:solidFill>
                  <a:schemeClr val="tx2"/>
                </a:solidFill>
                <a:latin typeface="Arial" charset="0"/>
                <a:cs typeface="Arial" charset="0"/>
              </a:defRPr>
            </a:lvl8pPr>
            <a:lvl9pPr marL="1371600" algn="l" rtl="0" eaLnBrk="1" fontAlgn="base" hangingPunct="1">
              <a:spcBef>
                <a:spcPct val="0"/>
              </a:spcBef>
              <a:spcAft>
                <a:spcPct val="0"/>
              </a:spcAft>
              <a:defRPr sz="2400" b="1">
                <a:solidFill>
                  <a:schemeClr val="tx2"/>
                </a:solidFill>
                <a:latin typeface="Arial" charset="0"/>
                <a:cs typeface="Arial" charset="0"/>
              </a:defRPr>
            </a:lvl9pPr>
          </a:lstStyle>
          <a:p>
            <a:r>
              <a:rPr lang="en-US" sz="600" dirty="0">
                <a:solidFill>
                  <a:schemeClr val="accent5">
                    <a:lumMod val="20000"/>
                    <a:lumOff val="80000"/>
                    <a:alpha val="63000"/>
                  </a:schemeClr>
                </a:solidFill>
              </a:rPr>
              <a:t>February 2018    © Scaled Agile, Inc..</a:t>
            </a:r>
          </a:p>
        </p:txBody>
      </p:sp>
      <p:cxnSp>
        <p:nvCxnSpPr>
          <p:cNvPr id="56" name="Straight Connector 55"/>
          <p:cNvCxnSpPr/>
          <p:nvPr/>
        </p:nvCxnSpPr>
        <p:spPr bwMode="auto">
          <a:xfrm flipH="1" flipV="1">
            <a:off x="0" y="3558646"/>
            <a:ext cx="9144000" cy="2758"/>
          </a:xfrm>
          <a:prstGeom prst="line">
            <a:avLst/>
          </a:prstGeom>
          <a:solidFill>
            <a:schemeClr val="accent1"/>
          </a:solidFill>
          <a:ln w="12700" cap="flat" cmpd="sng" algn="ctr">
            <a:solidFill>
              <a:schemeClr val="bg1">
                <a:lumMod val="75000"/>
              </a:schemeClr>
            </a:solidFill>
            <a:prstDash val="solid"/>
            <a:round/>
            <a:headEnd type="none" w="med" len="med"/>
            <a:tailEnd type="none" w="med" len="med"/>
          </a:ln>
          <a:effectLst/>
        </p:spPr>
      </p:cxnSp>
      <p:cxnSp>
        <p:nvCxnSpPr>
          <p:cNvPr id="57" name="Straight Connector 56"/>
          <p:cNvCxnSpPr/>
          <p:nvPr/>
        </p:nvCxnSpPr>
        <p:spPr bwMode="auto">
          <a:xfrm flipH="1">
            <a:off x="4177489" y="1620455"/>
            <a:ext cx="1275404" cy="8301"/>
          </a:xfrm>
          <a:prstGeom prst="line">
            <a:avLst/>
          </a:prstGeom>
          <a:solidFill>
            <a:schemeClr val="accent1"/>
          </a:solidFill>
          <a:ln w="12700" cap="flat" cmpd="sng" algn="ctr">
            <a:solidFill>
              <a:schemeClr val="bg1">
                <a:lumMod val="75000"/>
              </a:schemeClr>
            </a:solidFill>
            <a:prstDash val="solid"/>
            <a:round/>
            <a:headEnd type="none" w="med" len="med"/>
            <a:tailEnd type="none" w="med" len="med"/>
          </a:ln>
          <a:effectLst/>
        </p:spPr>
      </p:cxnSp>
      <p:cxnSp>
        <p:nvCxnSpPr>
          <p:cNvPr id="58" name="Straight Connector 57"/>
          <p:cNvCxnSpPr/>
          <p:nvPr/>
        </p:nvCxnSpPr>
        <p:spPr bwMode="auto">
          <a:xfrm flipH="1" flipV="1">
            <a:off x="2297348" y="2577830"/>
            <a:ext cx="2" cy="988981"/>
          </a:xfrm>
          <a:prstGeom prst="line">
            <a:avLst/>
          </a:prstGeom>
          <a:solidFill>
            <a:schemeClr val="accent1"/>
          </a:solidFill>
          <a:ln w="12700" cap="flat" cmpd="sng" algn="ctr">
            <a:solidFill>
              <a:schemeClr val="bg1">
                <a:lumMod val="85000"/>
              </a:schemeClr>
            </a:solidFill>
            <a:prstDash val="solid"/>
            <a:round/>
            <a:headEnd type="none" w="med" len="med"/>
            <a:tailEnd type="none" w="med" len="med"/>
          </a:ln>
          <a:effectLst/>
        </p:spPr>
      </p:cxnSp>
      <p:cxnSp>
        <p:nvCxnSpPr>
          <p:cNvPr id="59" name="Straight Connector 58"/>
          <p:cNvCxnSpPr/>
          <p:nvPr/>
        </p:nvCxnSpPr>
        <p:spPr bwMode="auto">
          <a:xfrm flipV="1">
            <a:off x="4182894" y="848468"/>
            <a:ext cx="5404" cy="2696723"/>
          </a:xfrm>
          <a:prstGeom prst="line">
            <a:avLst/>
          </a:prstGeom>
          <a:solidFill>
            <a:schemeClr val="accent1"/>
          </a:solidFill>
          <a:ln w="12700" cap="flat" cmpd="sng" algn="ctr">
            <a:solidFill>
              <a:schemeClr val="bg1">
                <a:lumMod val="75000"/>
              </a:schemeClr>
            </a:solidFill>
            <a:prstDash val="solid"/>
            <a:round/>
            <a:headEnd type="none" w="med" len="med"/>
            <a:tailEnd type="none" w="med" len="med"/>
          </a:ln>
          <a:effectLst/>
        </p:spPr>
      </p:cxnSp>
      <p:sp>
        <p:nvSpPr>
          <p:cNvPr id="60" name="TextBox 59"/>
          <p:cNvSpPr txBox="1"/>
          <p:nvPr/>
        </p:nvSpPr>
        <p:spPr>
          <a:xfrm>
            <a:off x="2658645" y="2688408"/>
            <a:ext cx="1562078" cy="807913"/>
          </a:xfrm>
          <a:prstGeom prst="rect">
            <a:avLst/>
          </a:prstGeom>
          <a:noFill/>
        </p:spPr>
        <p:txBody>
          <a:bodyPr wrap="square" rtlCol="0">
            <a:spAutoFit/>
          </a:bodyPr>
          <a:lstStyle/>
          <a:p>
            <a:r>
              <a:rPr lang="en-US" sz="1400" b="1" dirty="0">
                <a:solidFill>
                  <a:srgbClr val="565656"/>
                </a:solidFill>
              </a:rPr>
              <a:t>Pledged 1</a:t>
            </a:r>
            <a:r>
              <a:rPr lang="en-US" sz="1400" b="1" baseline="30000" dirty="0">
                <a:solidFill>
                  <a:srgbClr val="565656"/>
                </a:solidFill>
              </a:rPr>
              <a:t>%</a:t>
            </a:r>
          </a:p>
          <a:p>
            <a:pPr>
              <a:spcBef>
                <a:spcPts val="300"/>
              </a:spcBef>
            </a:pPr>
            <a:r>
              <a:rPr lang="en-US" sz="1000" dirty="0">
                <a:solidFill>
                  <a:srgbClr val="565656"/>
                </a:solidFill>
              </a:rPr>
              <a:t>Scaled Agile stock equity &amp; employee time to Pledge 1% campaign</a:t>
            </a:r>
          </a:p>
        </p:txBody>
      </p:sp>
      <p:pic>
        <p:nvPicPr>
          <p:cNvPr id="61" name="Picture 60"/>
          <p:cNvPicPr>
            <a:picLocks noChangeAspect="1"/>
          </p:cNvPicPr>
          <p:nvPr/>
        </p:nvPicPr>
        <p:blipFill>
          <a:blip r:embed="rId9" cstate="print">
            <a:alphaModFix amt="86000"/>
            <a:extLst>
              <a:ext uri="{28A0092B-C50C-407E-A947-70E740481C1C}">
                <a14:useLocalDpi xmlns:a14="http://schemas.microsoft.com/office/drawing/2010/main"/>
              </a:ext>
            </a:extLst>
          </a:blip>
          <a:stretch>
            <a:fillRect/>
          </a:stretch>
        </p:blipFill>
        <p:spPr>
          <a:xfrm>
            <a:off x="2337104" y="2712938"/>
            <a:ext cx="385671" cy="346529"/>
          </a:xfrm>
          <a:prstGeom prst="rect">
            <a:avLst/>
          </a:prstGeom>
          <a:effectLst>
            <a:outerShdw dist="12700" dir="2700000" algn="tl" rotWithShape="0">
              <a:srgbClr val="000000">
                <a:alpha val="50000"/>
              </a:srgbClr>
            </a:outerShdw>
          </a:effectLst>
        </p:spPr>
      </p:pic>
      <p:cxnSp>
        <p:nvCxnSpPr>
          <p:cNvPr id="62" name="Straight Connector 61"/>
          <p:cNvCxnSpPr/>
          <p:nvPr/>
        </p:nvCxnSpPr>
        <p:spPr bwMode="auto">
          <a:xfrm flipV="1">
            <a:off x="2297350" y="848468"/>
            <a:ext cx="0" cy="1038702"/>
          </a:xfrm>
          <a:prstGeom prst="line">
            <a:avLst/>
          </a:prstGeom>
          <a:solidFill>
            <a:schemeClr val="accent1"/>
          </a:solidFill>
          <a:ln w="12700" cap="flat" cmpd="sng" algn="ctr">
            <a:solidFill>
              <a:schemeClr val="bg1">
                <a:lumMod val="75000"/>
              </a:schemeClr>
            </a:solidFill>
            <a:prstDash val="solid"/>
            <a:round/>
            <a:headEnd type="none" w="med" len="med"/>
            <a:tailEnd type="none" w="med" len="med"/>
          </a:ln>
          <a:effectLst/>
        </p:spPr>
      </p:cxnSp>
      <p:cxnSp>
        <p:nvCxnSpPr>
          <p:cNvPr id="63" name="Straight Connector 62"/>
          <p:cNvCxnSpPr/>
          <p:nvPr/>
        </p:nvCxnSpPr>
        <p:spPr bwMode="auto">
          <a:xfrm flipH="1">
            <a:off x="1" y="837660"/>
            <a:ext cx="9143999" cy="4967"/>
          </a:xfrm>
          <a:prstGeom prst="line">
            <a:avLst/>
          </a:prstGeom>
          <a:solidFill>
            <a:schemeClr val="accent1"/>
          </a:solidFill>
          <a:ln w="12700" cap="flat" cmpd="sng" algn="ctr">
            <a:solidFill>
              <a:schemeClr val="bg1">
                <a:lumMod val="75000"/>
              </a:schemeClr>
            </a:solidFill>
            <a:prstDash val="solid"/>
            <a:round/>
            <a:headEnd type="none" w="med" len="med"/>
            <a:tailEnd type="none" w="med" len="med"/>
          </a:ln>
          <a:effectLst/>
        </p:spPr>
      </p:cxnSp>
      <p:sp>
        <p:nvSpPr>
          <p:cNvPr id="64" name="TextBox 63"/>
          <p:cNvSpPr txBox="1"/>
          <p:nvPr/>
        </p:nvSpPr>
        <p:spPr>
          <a:xfrm>
            <a:off x="5632824" y="883845"/>
            <a:ext cx="3022102" cy="630942"/>
          </a:xfrm>
          <a:prstGeom prst="rect">
            <a:avLst/>
          </a:prstGeom>
          <a:noFill/>
        </p:spPr>
        <p:txBody>
          <a:bodyPr wrap="square" rtlCol="0">
            <a:spAutoFit/>
          </a:bodyPr>
          <a:lstStyle/>
          <a:p>
            <a:pPr>
              <a:lnSpc>
                <a:spcPts val="1350"/>
              </a:lnSpc>
            </a:pPr>
            <a:r>
              <a:rPr lang="en-US" sz="1100" b="1" dirty="0">
                <a:solidFill>
                  <a:schemeClr val="accent5"/>
                </a:solidFill>
              </a:rPr>
              <a:t>Freely Available</a:t>
            </a:r>
            <a:br>
              <a:rPr lang="en-US" sz="1100" b="1" dirty="0">
                <a:solidFill>
                  <a:schemeClr val="accent1">
                    <a:lumMod val="60000"/>
                    <a:lumOff val="40000"/>
                  </a:schemeClr>
                </a:solidFill>
              </a:rPr>
            </a:br>
            <a:r>
              <a:rPr lang="en-US" sz="900" dirty="0"/>
              <a:t>SAFe’s knowledge base is freely available at </a:t>
            </a:r>
            <a:r>
              <a:rPr lang="en-US" sz="900" b="1" dirty="0"/>
              <a:t>scaledagileframework.com</a:t>
            </a:r>
          </a:p>
        </p:txBody>
      </p:sp>
      <p:cxnSp>
        <p:nvCxnSpPr>
          <p:cNvPr id="65" name="Straight Connector 64"/>
          <p:cNvCxnSpPr/>
          <p:nvPr/>
        </p:nvCxnSpPr>
        <p:spPr bwMode="auto">
          <a:xfrm flipH="1" flipV="1">
            <a:off x="0" y="2565342"/>
            <a:ext cx="4177489" cy="13568"/>
          </a:xfrm>
          <a:prstGeom prst="line">
            <a:avLst/>
          </a:prstGeom>
          <a:solidFill>
            <a:schemeClr val="accent1"/>
          </a:solidFill>
          <a:ln w="12700" cap="flat" cmpd="sng" algn="ctr">
            <a:solidFill>
              <a:schemeClr val="bg1">
                <a:lumMod val="75000"/>
              </a:schemeClr>
            </a:solidFill>
            <a:prstDash val="solid"/>
            <a:round/>
            <a:headEnd type="none" w="med" len="med"/>
            <a:tailEnd type="none" w="med" len="med"/>
          </a:ln>
          <a:effectLst/>
        </p:spPr>
      </p:cxnSp>
      <p:pic>
        <p:nvPicPr>
          <p:cNvPr id="66" name="Picture 65"/>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3253363" y="1988766"/>
            <a:ext cx="551419" cy="474221"/>
          </a:xfrm>
          <a:prstGeom prst="rect">
            <a:avLst/>
          </a:prstGeom>
        </p:spPr>
      </p:pic>
      <p:pic>
        <p:nvPicPr>
          <p:cNvPr id="67" name="Picture 66"/>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flipH="1">
            <a:off x="3366952" y="983574"/>
            <a:ext cx="389544" cy="310472"/>
          </a:xfrm>
          <a:prstGeom prst="rect">
            <a:avLst/>
          </a:prstGeom>
        </p:spPr>
      </p:pic>
      <p:pic>
        <p:nvPicPr>
          <p:cNvPr id="68" name="Picture 67" descr="SAFe_provided_by_SAI_logo.png"/>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419577" y="291353"/>
            <a:ext cx="3165167" cy="327288"/>
          </a:xfrm>
          <a:prstGeom prst="rect">
            <a:avLst/>
          </a:prstGeom>
        </p:spPr>
      </p:pic>
      <p:pic>
        <p:nvPicPr>
          <p:cNvPr id="69" name="Picture 68"/>
          <p:cNvPicPr>
            <a:picLocks noChangeAspect="1"/>
          </p:cNvPicPr>
          <p:nvPr/>
        </p:nvPicPr>
        <p:blipFill>
          <a:blip r:embed="rId13" cstate="print">
            <a:alphaModFix amt="89000"/>
            <a:extLst>
              <a:ext uri="{28A0092B-C50C-407E-A947-70E740481C1C}">
                <a14:useLocalDpi xmlns:a14="http://schemas.microsoft.com/office/drawing/2010/main"/>
              </a:ext>
            </a:extLst>
          </a:blip>
          <a:stretch>
            <a:fillRect/>
          </a:stretch>
        </p:blipFill>
        <p:spPr>
          <a:xfrm>
            <a:off x="4182122" y="1018585"/>
            <a:ext cx="1194496" cy="444350"/>
          </a:xfrm>
          <a:prstGeom prst="rect">
            <a:avLst/>
          </a:prstGeom>
        </p:spPr>
      </p:pic>
      <p:sp>
        <p:nvSpPr>
          <p:cNvPr id="70" name="Rectangle 69"/>
          <p:cNvSpPr/>
          <p:nvPr/>
        </p:nvSpPr>
        <p:spPr bwMode="auto">
          <a:xfrm>
            <a:off x="0" y="3557082"/>
            <a:ext cx="9144000" cy="442068"/>
          </a:xfrm>
          <a:prstGeom prst="rect">
            <a:avLst/>
          </a:prstGeom>
          <a:gradFill flip="none" rotWithShape="1">
            <a:gsLst>
              <a:gs pos="55000">
                <a:schemeClr val="bg1">
                  <a:lumMod val="75000"/>
                  <a:alpha val="31000"/>
                </a:schemeClr>
              </a:gs>
              <a:gs pos="100000">
                <a:schemeClr val="bg1">
                  <a:lumMod val="75000"/>
                  <a:alpha val="55000"/>
                </a:schemeClr>
              </a:gs>
            </a:gsLst>
            <a:lin ang="0" scaled="1"/>
            <a:tileRect/>
          </a:gra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l" eaLnBrk="0" hangingPunct="0">
              <a:spcBef>
                <a:spcPct val="20000"/>
              </a:spcBef>
            </a:pPr>
            <a:endParaRPr lang="en-US" sz="2200" i="1" dirty="0"/>
          </a:p>
        </p:txBody>
      </p:sp>
      <p:sp>
        <p:nvSpPr>
          <p:cNvPr id="71" name="TextBox 70"/>
          <p:cNvSpPr txBox="1"/>
          <p:nvPr/>
        </p:nvSpPr>
        <p:spPr>
          <a:xfrm>
            <a:off x="-1" y="3591180"/>
            <a:ext cx="9144001" cy="369332"/>
          </a:xfrm>
          <a:prstGeom prst="rect">
            <a:avLst/>
          </a:prstGeom>
          <a:solidFill>
            <a:schemeClr val="tx1">
              <a:lumMod val="50000"/>
              <a:alpha val="0"/>
            </a:schemeClr>
          </a:solidFill>
        </p:spPr>
        <p:txBody>
          <a:bodyPr wrap="square" rtlCol="0">
            <a:spAutoFit/>
          </a:bodyPr>
          <a:lstStyle/>
          <a:p>
            <a:pPr algn="ctr"/>
            <a:r>
              <a:rPr lang="en-US" b="1" spc="600" dirty="0">
                <a:solidFill>
                  <a:schemeClr val="bg1">
                    <a:lumMod val="65000"/>
                  </a:schemeClr>
                </a:solidFill>
              </a:rPr>
              <a:t>SAF</a:t>
            </a:r>
            <a:r>
              <a:rPr lang="en-US" b="1" spc="-150" dirty="0">
                <a:solidFill>
                  <a:schemeClr val="bg1">
                    <a:lumMod val="65000"/>
                  </a:schemeClr>
                </a:solidFill>
              </a:rPr>
              <a:t>e</a:t>
            </a:r>
            <a:r>
              <a:rPr lang="en-US" b="1" spc="600" dirty="0">
                <a:solidFill>
                  <a:schemeClr val="bg1">
                    <a:lumMod val="65000"/>
                  </a:schemeClr>
                </a:solidFill>
              </a:rPr>
              <a:t> CASE STUDIES</a:t>
            </a:r>
          </a:p>
        </p:txBody>
      </p:sp>
      <p:sp>
        <p:nvSpPr>
          <p:cNvPr id="72" name="TextBox 71"/>
          <p:cNvSpPr txBox="1"/>
          <p:nvPr/>
        </p:nvSpPr>
        <p:spPr>
          <a:xfrm>
            <a:off x="5632824" y="2313401"/>
            <a:ext cx="2142853" cy="261610"/>
          </a:xfrm>
          <a:prstGeom prst="rect">
            <a:avLst/>
          </a:prstGeom>
          <a:noFill/>
        </p:spPr>
        <p:txBody>
          <a:bodyPr wrap="square" rtlCol="0">
            <a:spAutoFit/>
          </a:bodyPr>
          <a:lstStyle/>
          <a:p>
            <a:pPr>
              <a:spcBef>
                <a:spcPts val="1200"/>
              </a:spcBef>
              <a:spcAft>
                <a:spcPts val="600"/>
              </a:spcAft>
            </a:pPr>
            <a:r>
              <a:rPr lang="en-US" sz="1100" b="1" dirty="0">
                <a:solidFill>
                  <a:srgbClr val="9EB31C"/>
                </a:solidFill>
              </a:rPr>
              <a:t>Fastest Growing Method</a:t>
            </a:r>
            <a:endParaRPr lang="en-US" sz="900" b="1" dirty="0"/>
          </a:p>
        </p:txBody>
      </p:sp>
      <p:pic>
        <p:nvPicPr>
          <p:cNvPr id="2" name="Picture 1"/>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4940908" y="2131321"/>
            <a:ext cx="437232" cy="437232"/>
          </a:xfrm>
          <a:prstGeom prst="rect">
            <a:avLst/>
          </a:prstGeom>
        </p:spPr>
      </p:pic>
      <p:sp>
        <p:nvSpPr>
          <p:cNvPr id="73" name="TextBox 72"/>
          <p:cNvSpPr txBox="1"/>
          <p:nvPr/>
        </p:nvSpPr>
        <p:spPr>
          <a:xfrm>
            <a:off x="4179318" y="1723304"/>
            <a:ext cx="1262406" cy="248594"/>
          </a:xfrm>
          <a:prstGeom prst="rect">
            <a:avLst/>
          </a:prstGeom>
          <a:noFill/>
        </p:spPr>
        <p:txBody>
          <a:bodyPr wrap="square" rtlCol="0">
            <a:spAutoFit/>
          </a:bodyPr>
          <a:lstStyle/>
          <a:p>
            <a:pPr>
              <a:lnSpc>
                <a:spcPts val="1230"/>
              </a:lnSpc>
              <a:spcBef>
                <a:spcPts val="0"/>
              </a:spcBef>
            </a:pPr>
            <a:r>
              <a:rPr lang="en-US" sz="1400" b="1" dirty="0"/>
              <a:t>Training</a:t>
            </a:r>
            <a:endParaRPr lang="en-US" sz="900" dirty="0"/>
          </a:p>
        </p:txBody>
      </p:sp>
    </p:spTree>
    <p:extLst>
      <p:ext uri="{BB962C8B-B14F-4D97-AF65-F5344CB8AC3E}">
        <p14:creationId xmlns:p14="http://schemas.microsoft.com/office/powerpoint/2010/main" val="2139517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0" y="0"/>
            <a:ext cx="9229060" cy="1573619"/>
          </a:xfrm>
          <a:prstGeom prst="rect">
            <a:avLst/>
          </a:prstGeom>
          <a:solidFill>
            <a:schemeClr val="bg1"/>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l" eaLnBrk="0" hangingPunct="0">
              <a:spcBef>
                <a:spcPct val="20000"/>
              </a:spcBef>
            </a:pPr>
            <a:endParaRPr lang="en-US" sz="2200" i="1" dirty="0"/>
          </a:p>
        </p:txBody>
      </p:sp>
      <p:sp>
        <p:nvSpPr>
          <p:cNvPr id="3" name="Content Placeholder 5"/>
          <p:cNvSpPr txBox="1">
            <a:spLocks/>
          </p:cNvSpPr>
          <p:nvPr/>
        </p:nvSpPr>
        <p:spPr>
          <a:xfrm>
            <a:off x="2002895" y="731698"/>
            <a:ext cx="5138210" cy="2094163"/>
          </a:xfrm>
          <a:prstGeom prst="rect">
            <a:avLst/>
          </a:prstGeom>
        </p:spPr>
        <p:txBody>
          <a:bodyPr/>
          <a:lstStyle>
            <a:lvl1pPr marL="406400" indent="-406400" algn="l" rtl="0" eaLnBrk="1" fontAlgn="base" hangingPunct="1">
              <a:spcBef>
                <a:spcPts val="600"/>
              </a:spcBef>
              <a:spcAft>
                <a:spcPts val="600"/>
              </a:spcAft>
              <a:buClr>
                <a:schemeClr val="tx1">
                  <a:lumMod val="50000"/>
                  <a:lumOff val="50000"/>
                </a:schemeClr>
              </a:buClr>
              <a:buSzPct val="100000"/>
              <a:buFont typeface="Webdings" pitchFamily="18" charset="2"/>
              <a:buChar char="4"/>
              <a:defRPr sz="2400">
                <a:solidFill>
                  <a:srgbClr val="3C3C3C"/>
                </a:solidFill>
                <a:latin typeface="+mn-lt"/>
                <a:ea typeface="+mn-ea"/>
                <a:cs typeface="+mn-cs"/>
              </a:defRPr>
            </a:lvl1pPr>
            <a:lvl2pPr marL="749300" indent="-279400" algn="l" rtl="0" eaLnBrk="1" fontAlgn="base" hangingPunct="1">
              <a:spcBef>
                <a:spcPts val="400"/>
              </a:spcBef>
              <a:spcAft>
                <a:spcPts val="400"/>
              </a:spcAft>
              <a:buClr>
                <a:schemeClr val="tx1">
                  <a:lumMod val="50000"/>
                  <a:lumOff val="50000"/>
                </a:schemeClr>
              </a:buClr>
              <a:buSzPct val="122000"/>
              <a:buFont typeface="Arial"/>
              <a:buChar char="•"/>
              <a:defRPr sz="2200">
                <a:solidFill>
                  <a:srgbClr val="3C3C3C"/>
                </a:solidFill>
                <a:latin typeface="+mn-lt"/>
                <a:cs typeface="+mn-cs"/>
              </a:defRPr>
            </a:lvl2pPr>
            <a:lvl3pPr marL="1028700" indent="-228600" algn="l" rtl="0" eaLnBrk="1" fontAlgn="base" hangingPunct="1">
              <a:spcBef>
                <a:spcPts val="400"/>
              </a:spcBef>
              <a:spcAft>
                <a:spcPts val="400"/>
              </a:spcAft>
              <a:buClr>
                <a:schemeClr val="tx1">
                  <a:lumMod val="50000"/>
                  <a:lumOff val="50000"/>
                </a:schemeClr>
              </a:buClr>
              <a:buSzPct val="110000"/>
              <a:buFont typeface="Wingdings" charset="2"/>
              <a:buChar char="§"/>
              <a:defRPr lang="en-US" altLang="en-US" sz="2000" dirty="0" smtClean="0">
                <a:solidFill>
                  <a:srgbClr val="3C3C3C"/>
                </a:solidFill>
                <a:latin typeface="+mn-lt"/>
                <a:cs typeface="+mn-cs"/>
              </a:defRPr>
            </a:lvl3pPr>
            <a:lvl4pPr marL="1428750" indent="-285750" algn="l" rtl="0" eaLnBrk="1" fontAlgn="base" hangingPunct="1">
              <a:spcBef>
                <a:spcPts val="300"/>
              </a:spcBef>
              <a:spcAft>
                <a:spcPts val="300"/>
              </a:spcAft>
              <a:buClr>
                <a:schemeClr val="tx1">
                  <a:lumMod val="75000"/>
                  <a:lumOff val="25000"/>
                </a:schemeClr>
              </a:buClr>
              <a:buSzPct val="110000"/>
              <a:buFont typeface="Courier New"/>
              <a:buChar char="o"/>
              <a:defRPr sz="1800" baseline="0">
                <a:solidFill>
                  <a:srgbClr val="3C3C3C"/>
                </a:solidFill>
                <a:latin typeface="+mn-lt"/>
                <a:cs typeface="+mn-cs"/>
              </a:defRPr>
            </a:lvl4pPr>
            <a:lvl5pPr marL="1662113" indent="-227013" algn="l" rtl="0" eaLnBrk="1" fontAlgn="base" hangingPunct="1">
              <a:spcBef>
                <a:spcPts val="300"/>
              </a:spcBef>
              <a:spcAft>
                <a:spcPts val="300"/>
              </a:spcAft>
              <a:buClr>
                <a:schemeClr val="tx1">
                  <a:lumMod val="75000"/>
                  <a:lumOff val="25000"/>
                </a:schemeClr>
              </a:buClr>
              <a:buSzPct val="110000"/>
              <a:buFont typeface="Arial Black" pitchFamily="34" charset="0"/>
              <a:buChar char="–"/>
              <a:defRPr sz="1600">
                <a:solidFill>
                  <a:srgbClr val="3C3C3C"/>
                </a:solidFill>
                <a:latin typeface="+mn-lt"/>
                <a:cs typeface="+mn-cs"/>
              </a:defRPr>
            </a:lvl5pPr>
            <a:lvl6pPr marL="20558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6pPr>
            <a:lvl7pPr marL="25130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7pPr>
            <a:lvl8pPr marL="29702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8pPr>
            <a:lvl9pPr marL="34274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9pPr>
          </a:lstStyle>
          <a:p>
            <a:pPr marL="0" indent="0" algn="ctr">
              <a:lnSpc>
                <a:spcPts val="3000"/>
              </a:lnSpc>
              <a:spcBef>
                <a:spcPts val="375"/>
              </a:spcBef>
              <a:spcAft>
                <a:spcPts val="375"/>
              </a:spcAft>
              <a:buNone/>
            </a:pPr>
            <a:endParaRPr lang="en-US" sz="1950" dirty="0">
              <a:solidFill>
                <a:schemeClr val="accent2"/>
              </a:solidFill>
            </a:endParaRPr>
          </a:p>
        </p:txBody>
      </p:sp>
      <p:sp>
        <p:nvSpPr>
          <p:cNvPr id="4" name="TextBox 3"/>
          <p:cNvSpPr txBox="1"/>
          <p:nvPr/>
        </p:nvSpPr>
        <p:spPr>
          <a:xfrm>
            <a:off x="3279284" y="2013576"/>
            <a:ext cx="5257800" cy="1944891"/>
          </a:xfrm>
          <a:prstGeom prst="rect">
            <a:avLst/>
          </a:prstGeom>
          <a:solidFill>
            <a:schemeClr val="bg1">
              <a:alpha val="0"/>
            </a:schemeClr>
          </a:solidFill>
          <a:ln>
            <a:solidFill>
              <a:schemeClr val="bg1">
                <a:alpha val="0"/>
              </a:schemeClr>
            </a:solidFill>
          </a:ln>
        </p:spPr>
        <p:txBody>
          <a:bodyPr wrap="square" tIns="274320" rtlCol="0">
            <a:spAutoFit/>
          </a:bodyPr>
          <a:lstStyle/>
          <a:p>
            <a:pPr>
              <a:lnSpc>
                <a:spcPts val="4380"/>
              </a:lnSpc>
              <a:spcBef>
                <a:spcPts val="1100"/>
              </a:spcBef>
              <a:spcAft>
                <a:spcPts val="500"/>
              </a:spcAft>
            </a:pPr>
            <a:r>
              <a:rPr lang="en-US" sz="2400" dirty="0">
                <a:solidFill>
                  <a:schemeClr val="bg1"/>
                </a:solidFill>
              </a:rPr>
              <a:t>SAFe is a knowledge base of proven, integrated principles and practices for Lean, Agile, and DevOps. </a:t>
            </a:r>
          </a:p>
        </p:txBody>
      </p:sp>
      <p:sp>
        <p:nvSpPr>
          <p:cNvPr id="5" name="TextBox 4"/>
          <p:cNvSpPr txBox="1"/>
          <p:nvPr/>
        </p:nvSpPr>
        <p:spPr>
          <a:xfrm>
            <a:off x="849322" y="344698"/>
            <a:ext cx="7598790" cy="1077218"/>
          </a:xfrm>
          <a:prstGeom prst="rect">
            <a:avLst/>
          </a:prstGeom>
          <a:noFill/>
        </p:spPr>
        <p:txBody>
          <a:bodyPr wrap="square" rtlCol="0" anchor="t">
            <a:spAutoFit/>
          </a:bodyPr>
          <a:lstStyle/>
          <a:p>
            <a:pPr algn="ctr"/>
            <a:r>
              <a:rPr lang="en-US" sz="3200" dirty="0"/>
              <a:t>SAFe is the world’s </a:t>
            </a:r>
            <a:br>
              <a:rPr lang="en-US" sz="3200" dirty="0"/>
            </a:br>
            <a:r>
              <a:rPr lang="en-US" sz="3200" dirty="0"/>
              <a:t>leading framework for enterprise agility</a:t>
            </a:r>
          </a:p>
        </p:txBody>
      </p:sp>
      <p:sp>
        <p:nvSpPr>
          <p:cNvPr id="7" name="TextBox 6">
            <a:hlinkClick r:id="rId3"/>
          </p:cNvPr>
          <p:cNvSpPr txBox="1"/>
          <p:nvPr/>
        </p:nvSpPr>
        <p:spPr>
          <a:xfrm>
            <a:off x="5908183" y="4227771"/>
            <a:ext cx="3013072" cy="338554"/>
          </a:xfrm>
          <a:prstGeom prst="rect">
            <a:avLst/>
          </a:prstGeom>
          <a:noFill/>
        </p:spPr>
        <p:txBody>
          <a:bodyPr wrap="square" rtlCol="0">
            <a:spAutoFit/>
          </a:bodyPr>
          <a:lstStyle/>
          <a:p>
            <a:pPr algn="l"/>
            <a:r>
              <a:rPr lang="en-US" sz="1600" dirty="0">
                <a:solidFill>
                  <a:schemeClr val="bg1"/>
                </a:solidFill>
              </a:rPr>
              <a:t>scaledagileframework.com</a:t>
            </a:r>
          </a:p>
        </p:txBody>
      </p:sp>
      <p:pic>
        <p:nvPicPr>
          <p:cNvPr id="9" name="Picture 8"/>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15797" y="2232453"/>
            <a:ext cx="2002354" cy="2240413"/>
          </a:xfrm>
          <a:prstGeom prst="rect">
            <a:avLst/>
          </a:prstGeom>
        </p:spPr>
      </p:pic>
    </p:spTree>
    <p:extLst>
      <p:ext uri="{BB962C8B-B14F-4D97-AF65-F5344CB8AC3E}">
        <p14:creationId xmlns:p14="http://schemas.microsoft.com/office/powerpoint/2010/main" val="6858550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mbrace a Lean-Agile mindset</a:t>
            </a:r>
          </a:p>
        </p:txBody>
      </p:sp>
    </p:spTree>
    <p:extLst>
      <p:ext uri="{BB962C8B-B14F-4D97-AF65-F5344CB8AC3E}">
        <p14:creationId xmlns:p14="http://schemas.microsoft.com/office/powerpoint/2010/main" val="10647265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nDD338byrUy.x6GH0kLvd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Kyt4vWzKEq0W4TOUfZ19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B4c.GUrCqkC0ju.jnE8d8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1dCEWDR80GDPbC1xPCIh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oFM9dKiQ.kWv03yrzcTv0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w317BakSUky_ISYnPhT6J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Kr3.eJX3EeVNO8QXA7NZ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w3SGwdjnDUCIpWJp0cOxI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iQK7clZsoEee8Q2eVdb1_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RtzNbuyjKkGJe4bxYBfOq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TAlI.Ir3LE2IKRxIIgO5Z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CqxomS0GiUasKGyEudtfI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99slUjVAkkKPrIWY.h8z9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dQdM23oT0yx5ezV4fczs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sg8byroSTE2GD8JcPpyp0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y6gduGQ3bk.UxYOwVoblo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tGJYfIseP0KO9zSWyQ76N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T1Jeik2vDkGMVwvVDbvx7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v4Goy2A8JE2o0YN2Ea_Rn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ivInMiw_AUexFezgQ2hhY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nodhYr2u80mxaF3Eo2HOD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Ky13jZYQ0WxGSS9NG9qQ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hBm27UvDA0SnmipMFMlXN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WVQlXahh5UqkV68471w5e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E4C9S0w2a0mjeGt1TpZe6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E4C9S0w2a0mjeGt1TpZe6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ozANf.3WA0W5yCdFMFVTL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QM3Sg_SyXk.lVjI5id2bC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2Ri9tBz8mkaC.jpDigbWA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kXE8636Zhk6ZNcgYY19om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45rhYHBuiEajA2rg4_Y0S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8OJyuTCmtU.2O8OE9bLg6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TJ6_PTMWcUmGxNQBVz_5r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I7tc7UoiZE.MJTULKbDtH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7JsWBzC.j02Gll6dwswXO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ysJCgAoktUOzFVo8dHlpL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DhgZfVtXdk.vSN9Z8KCun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PKa9h4lkLE6peL1RYBEFO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uxdgl8MPkib75u4S_RNu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GcJZatJImkiu688CII2iW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wX5us_0VYUm_0NQMJLxxG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95WAAfsTkK0jr6iEHibR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2mylIWvVVUG.TGZNw7wMv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tfdX6QyHM0ab_mWS_j99w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kaywGYr3EyIy_0hxsHRn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hAsIy9hIeUq0OPmmUgwAT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0VxieQJvE0m_1R2w4oVZL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05bouhnDJ0exid6.lG2j0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Xaia1EsXpEOHqQ9nNceWU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zL4HSifCkSN6QbhfcJhj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OpyFwXT0BUunsn0eZSCGF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jYLNjwMd1kW4S20MLtnX7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JqZJlvAeQ0uSIkcAdzpgM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RUnNPcBv6064JRt2AKNlu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3iwN9Tf9HEGWcglcIv_Nn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r4pcbzPDUka6x35SfaD5V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CtX4uBe6Y0yxWqwOgWofo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hPAUwLSuWkGJ1NHF8liO4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o46zTPnMoE2FCrJ_fGj67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fVfoAIL3.0O6whQo0P3fk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3tfq_L3mkCURvkf7lIq7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Pr8UslhuT0GnLq_TdRhDQ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QPMP1U4Rr0iJAD1grkB.Tw"/>
</p:tagLst>
</file>

<file path=ppt/theme/theme1.xml><?xml version="1.0" encoding="utf-8"?>
<a:theme xmlns:a="http://schemas.openxmlformats.org/drawingml/2006/main" name="Courseware Template-V8_with reference">
  <a:themeElements>
    <a:clrScheme name="Jeff Changed">
      <a:dk1>
        <a:srgbClr val="565656"/>
      </a:dk1>
      <a:lt1>
        <a:srgbClr val="FFFFFF"/>
      </a:lt1>
      <a:dk2>
        <a:srgbClr val="000000"/>
      </a:dk2>
      <a:lt2>
        <a:srgbClr val="E2E2E2"/>
      </a:lt2>
      <a:accent1>
        <a:srgbClr val="3C75BA"/>
      </a:accent1>
      <a:accent2>
        <a:srgbClr val="E05E0D"/>
      </a:accent2>
      <a:accent3>
        <a:srgbClr val="F4AD3E"/>
      </a:accent3>
      <a:accent4>
        <a:srgbClr val="465064"/>
      </a:accent4>
      <a:accent5>
        <a:srgbClr val="9EB31C"/>
      </a:accent5>
      <a:accent6>
        <a:srgbClr val="33353A"/>
      </a:accent6>
      <a:hlink>
        <a:srgbClr val="333333"/>
      </a:hlink>
      <a:folHlink>
        <a:srgbClr val="262626"/>
      </a:folHlink>
    </a:clrScheme>
    <a:fontScheme name="Network">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lumMod val="85000"/>
          </a:schemeClr>
        </a:solidFill>
        <a:ln w="19050" cap="flat" cmpd="sng" algn="ctr">
          <a:noFill/>
          <a:prstDash val="solid"/>
          <a:round/>
          <a:headEnd type="none" w="med" len="med"/>
          <a:tailEnd type="none" w="med" len="med"/>
        </a:ln>
        <a:effectLst>
          <a:outerShdw blurRad="50800" dist="38100" dir="2700000" algn="tl" rotWithShape="0">
            <a:prstClr val="black">
              <a:alpha val="40000"/>
            </a:prstClr>
          </a:outerShdw>
        </a:effectLst>
      </a:spPr>
      <a:bodyPr vert="horz" wrap="square" lIns="91440" tIns="91440" rIns="91440" bIns="91440" numCol="1" rtlCol="0" anchor="t" anchorCtr="0" compatLnSpc="1">
        <a:prstTxWarp prst="textNoShape">
          <a:avLst/>
        </a:prstTxWarp>
        <a:noAutofit/>
      </a:bodyPr>
      <a:lstStyle>
        <a:defPPr algn="l" eaLnBrk="0" hangingPunct="0">
          <a:spcBef>
            <a:spcPct val="20000"/>
          </a:spcBef>
          <a:defRPr sz="2200" i="1" dirty="0" smtClean="0"/>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r"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cs typeface="Arial" charset="0"/>
          </a:defRPr>
        </a:defPPr>
      </a:lstStyle>
    </a:lnDef>
    <a:txDef>
      <a:spPr>
        <a:noFill/>
      </a:spPr>
      <a:bodyPr wrap="square" rtlCol="0">
        <a:spAutoFit/>
      </a:bodyPr>
      <a:lstStyle>
        <a:defPPr algn="l">
          <a:defRPr dirty="0" smtClean="0"/>
        </a:defPPr>
      </a:lstStyle>
    </a:txDef>
  </a:objectDefaults>
  <a:extraClrSchemeLst>
    <a:extraClrScheme>
      <a:clrScheme name="Network 1">
        <a:dk1>
          <a:srgbClr val="4F747B"/>
        </a:dk1>
        <a:lt1>
          <a:srgbClr val="FFFFFF"/>
        </a:lt1>
        <a:dk2>
          <a:srgbClr val="000000"/>
        </a:dk2>
        <a:lt2>
          <a:srgbClr val="C0C0C0"/>
        </a:lt2>
        <a:accent1>
          <a:srgbClr val="859868"/>
        </a:accent1>
        <a:accent2>
          <a:srgbClr val="5F5F5F"/>
        </a:accent2>
        <a:accent3>
          <a:srgbClr val="AAAAAA"/>
        </a:accent3>
        <a:accent4>
          <a:srgbClr val="DADADA"/>
        </a:accent4>
        <a:accent5>
          <a:srgbClr val="C2CAB9"/>
        </a:accent5>
        <a:accent6>
          <a:srgbClr val="555555"/>
        </a:accent6>
        <a:hlink>
          <a:srgbClr val="5F5F5F"/>
        </a:hlink>
        <a:folHlink>
          <a:srgbClr val="BA1212"/>
        </a:folHlink>
      </a:clrScheme>
      <a:clrMap bg1="dk2" tx1="lt1" bg2="dk1" tx2="lt2" accent1="accent1" accent2="accent2" accent3="accent3" accent4="accent4" accent5="accent5" accent6="accent6" hlink="hlink" folHlink="folHlink"/>
    </a:extraClrScheme>
    <a:extraClrScheme>
      <a:clrScheme name="Network 2">
        <a:dk1>
          <a:srgbClr val="3C0000"/>
        </a:dk1>
        <a:lt1>
          <a:srgbClr val="FFFFFF"/>
        </a:lt1>
        <a:dk2>
          <a:srgbClr val="4D0B0B"/>
        </a:dk2>
        <a:lt2>
          <a:srgbClr val="FFFFFF"/>
        </a:lt2>
        <a:accent1>
          <a:srgbClr val="666633"/>
        </a:accent1>
        <a:accent2>
          <a:srgbClr val="CC3300"/>
        </a:accent2>
        <a:accent3>
          <a:srgbClr val="B2AAAA"/>
        </a:accent3>
        <a:accent4>
          <a:srgbClr val="DADADA"/>
        </a:accent4>
        <a:accent5>
          <a:srgbClr val="B8B8AD"/>
        </a:accent5>
        <a:accent6>
          <a:srgbClr val="B92D00"/>
        </a:accent6>
        <a:hlink>
          <a:srgbClr val="CC9900"/>
        </a:hlink>
        <a:folHlink>
          <a:srgbClr val="CCCC33"/>
        </a:folHlink>
      </a:clrScheme>
      <a:clrMap bg1="dk2" tx1="lt1" bg2="dk1" tx2="lt2" accent1="accent1" accent2="accent2" accent3="accent3" accent4="accent4" accent5="accent5" accent6="accent6" hlink="hlink" folHlink="folHlink"/>
    </a:extraClrScheme>
    <a:extraClrScheme>
      <a:clrScheme name="Network 3">
        <a:dk1>
          <a:srgbClr val="666699"/>
        </a:dk1>
        <a:lt1>
          <a:srgbClr val="FFFFFF"/>
        </a:lt1>
        <a:dk2>
          <a:srgbClr val="15192B"/>
        </a:dk2>
        <a:lt2>
          <a:srgbClr val="CCCCFF"/>
        </a:lt2>
        <a:accent1>
          <a:srgbClr val="4F893D"/>
        </a:accent1>
        <a:accent2>
          <a:srgbClr val="666699"/>
        </a:accent2>
        <a:accent3>
          <a:srgbClr val="AAABAC"/>
        </a:accent3>
        <a:accent4>
          <a:srgbClr val="DADADA"/>
        </a:accent4>
        <a:accent5>
          <a:srgbClr val="B2C4AF"/>
        </a:accent5>
        <a:accent6>
          <a:srgbClr val="5C5C8A"/>
        </a:accent6>
        <a:hlink>
          <a:srgbClr val="CC9900"/>
        </a:hlink>
        <a:folHlink>
          <a:srgbClr val="4837C7"/>
        </a:folHlink>
      </a:clrScheme>
      <a:clrMap bg1="dk2" tx1="lt1" bg2="dk1" tx2="lt2" accent1="accent1" accent2="accent2" accent3="accent3" accent4="accent4" accent5="accent5" accent6="accent6" hlink="hlink" folHlink="folHlink"/>
    </a:extraClrScheme>
    <a:extraClrScheme>
      <a:clrScheme name="Network 4">
        <a:dk1>
          <a:srgbClr val="666699"/>
        </a:dk1>
        <a:lt1>
          <a:srgbClr val="FFFFFF"/>
        </a:lt1>
        <a:dk2>
          <a:srgbClr val="86001A"/>
        </a:dk2>
        <a:lt2>
          <a:srgbClr val="CCCC66"/>
        </a:lt2>
        <a:accent1>
          <a:srgbClr val="FF3300"/>
        </a:accent1>
        <a:accent2>
          <a:srgbClr val="FF6600"/>
        </a:accent2>
        <a:accent3>
          <a:srgbClr val="C3AAAB"/>
        </a:accent3>
        <a:accent4>
          <a:srgbClr val="DADADA"/>
        </a:accent4>
        <a:accent5>
          <a:srgbClr val="FFADAA"/>
        </a:accent5>
        <a:accent6>
          <a:srgbClr val="E75C00"/>
        </a:accent6>
        <a:hlink>
          <a:srgbClr val="CC9900"/>
        </a:hlink>
        <a:folHlink>
          <a:srgbClr val="FF0000"/>
        </a:folHlink>
      </a:clrScheme>
      <a:clrMap bg1="dk2" tx1="lt1" bg2="dk1" tx2="lt2" accent1="accent1" accent2="accent2" accent3="accent3" accent4="accent4" accent5="accent5" accent6="accent6" hlink="hlink" folHlink="folHlink"/>
    </a:extraClrScheme>
    <a:extraClrScheme>
      <a:clrScheme name="Network 5">
        <a:dk1>
          <a:srgbClr val="666699"/>
        </a:dk1>
        <a:lt1>
          <a:srgbClr val="FFFFFF"/>
        </a:lt1>
        <a:dk2>
          <a:srgbClr val="000054"/>
        </a:dk2>
        <a:lt2>
          <a:srgbClr val="FFFFFF"/>
        </a:lt2>
        <a:accent1>
          <a:srgbClr val="3333FF"/>
        </a:accent1>
        <a:accent2>
          <a:srgbClr val="006699"/>
        </a:accent2>
        <a:accent3>
          <a:srgbClr val="AAAAB3"/>
        </a:accent3>
        <a:accent4>
          <a:srgbClr val="DADADA"/>
        </a:accent4>
        <a:accent5>
          <a:srgbClr val="ADADFF"/>
        </a:accent5>
        <a:accent6>
          <a:srgbClr val="005C8A"/>
        </a:accent6>
        <a:hlink>
          <a:srgbClr val="669900"/>
        </a:hlink>
        <a:folHlink>
          <a:srgbClr val="0000FF"/>
        </a:folHlink>
      </a:clrScheme>
      <a:clrMap bg1="dk2" tx1="lt1" bg2="dk1" tx2="lt2" accent1="accent1" accent2="accent2" accent3="accent3" accent4="accent4" accent5="accent5" accent6="accent6" hlink="hlink" folHlink="folHlink"/>
    </a:extraClrScheme>
    <a:extraClrScheme>
      <a:clrScheme name="Network 6">
        <a:dk1>
          <a:srgbClr val="808080"/>
        </a:dk1>
        <a:lt1>
          <a:srgbClr val="FFFFFF"/>
        </a:lt1>
        <a:dk2>
          <a:srgbClr val="30054B"/>
        </a:dk2>
        <a:lt2>
          <a:srgbClr val="FFFFFF"/>
        </a:lt2>
        <a:accent1>
          <a:srgbClr val="797B9B"/>
        </a:accent1>
        <a:accent2>
          <a:srgbClr val="6B4FB1"/>
        </a:accent2>
        <a:accent3>
          <a:srgbClr val="ADAAB1"/>
        </a:accent3>
        <a:accent4>
          <a:srgbClr val="DADADA"/>
        </a:accent4>
        <a:accent5>
          <a:srgbClr val="BEBFCB"/>
        </a:accent5>
        <a:accent6>
          <a:srgbClr val="6047A0"/>
        </a:accent6>
        <a:hlink>
          <a:srgbClr val="7AACCE"/>
        </a:hlink>
        <a:folHlink>
          <a:srgbClr val="D8D8EC"/>
        </a:folHlink>
      </a:clrScheme>
      <a:clrMap bg1="dk2" tx1="lt1" bg2="dk1" tx2="lt2" accent1="accent1" accent2="accent2" accent3="accent3" accent4="accent4" accent5="accent5" accent6="accent6" hlink="hlink" folHlink="folHlink"/>
    </a:extraClrScheme>
    <a:extraClrScheme>
      <a:clrScheme name="Network 7">
        <a:dk1>
          <a:srgbClr val="808080"/>
        </a:dk1>
        <a:lt1>
          <a:srgbClr val="FFFFCC"/>
        </a:lt1>
        <a:dk2>
          <a:srgbClr val="29527B"/>
        </a:dk2>
        <a:lt2>
          <a:srgbClr val="FFFFFF"/>
        </a:lt2>
        <a:accent1>
          <a:srgbClr val="CCCC00"/>
        </a:accent1>
        <a:accent2>
          <a:srgbClr val="669999"/>
        </a:accent2>
        <a:accent3>
          <a:srgbClr val="ACB3BF"/>
        </a:accent3>
        <a:accent4>
          <a:srgbClr val="DADAAE"/>
        </a:accent4>
        <a:accent5>
          <a:srgbClr val="E2E2AA"/>
        </a:accent5>
        <a:accent6>
          <a:srgbClr val="5C8A8A"/>
        </a:accent6>
        <a:hlink>
          <a:srgbClr val="D8D8EC"/>
        </a:hlink>
        <a:folHlink>
          <a:srgbClr val="B2B2B2"/>
        </a:folHlink>
      </a:clrScheme>
      <a:clrMap bg1="dk2" tx1="lt1" bg2="dk1" tx2="lt2" accent1="accent1" accent2="accent2" accent3="accent3" accent4="accent4" accent5="accent5" accent6="accent6" hlink="hlink" folHlink="folHlink"/>
    </a:extraClrScheme>
    <a:extraClrScheme>
      <a:clrScheme name="Network 8">
        <a:dk1>
          <a:srgbClr val="666699"/>
        </a:dk1>
        <a:lt1>
          <a:srgbClr val="FFFFFF"/>
        </a:lt1>
        <a:dk2>
          <a:srgbClr val="476949"/>
        </a:dk2>
        <a:lt2>
          <a:srgbClr val="FFFFFF"/>
        </a:lt2>
        <a:accent1>
          <a:srgbClr val="CC6600"/>
        </a:accent1>
        <a:accent2>
          <a:srgbClr val="CC9900"/>
        </a:accent2>
        <a:accent3>
          <a:srgbClr val="B1B9B1"/>
        </a:accent3>
        <a:accent4>
          <a:srgbClr val="DADADA"/>
        </a:accent4>
        <a:accent5>
          <a:srgbClr val="E2B8AA"/>
        </a:accent5>
        <a:accent6>
          <a:srgbClr val="B98A00"/>
        </a:accent6>
        <a:hlink>
          <a:srgbClr val="669900"/>
        </a:hlink>
        <a:folHlink>
          <a:srgbClr val="A45200"/>
        </a:folHlink>
      </a:clrScheme>
      <a:clrMap bg1="dk2" tx1="lt1" bg2="dk1" tx2="lt2" accent1="accent1" accent2="accent2" accent3="accent3" accent4="accent4" accent5="accent5" accent6="accent6" hlink="hlink" folHlink="folHlink"/>
    </a:extraClrScheme>
    <a:extraClrScheme>
      <a:clrScheme name="Network 9">
        <a:dk1>
          <a:srgbClr val="000000"/>
        </a:dk1>
        <a:lt1>
          <a:srgbClr val="FFFFFF"/>
        </a:lt1>
        <a:dk2>
          <a:srgbClr val="7C1302"/>
        </a:dk2>
        <a:lt2>
          <a:srgbClr val="CC9900"/>
        </a:lt2>
        <a:accent1>
          <a:srgbClr val="CC9900"/>
        </a:accent1>
        <a:accent2>
          <a:srgbClr val="CC3300"/>
        </a:accent2>
        <a:accent3>
          <a:srgbClr val="FFFFFF"/>
        </a:accent3>
        <a:accent4>
          <a:srgbClr val="000000"/>
        </a:accent4>
        <a:accent5>
          <a:srgbClr val="E2CAAA"/>
        </a:accent5>
        <a:accent6>
          <a:srgbClr val="B92D00"/>
        </a:accent6>
        <a:hlink>
          <a:srgbClr val="808080"/>
        </a:hlink>
        <a:folHlink>
          <a:srgbClr val="CCCC66"/>
        </a:folHlink>
      </a:clrScheme>
      <a:clrMap bg1="lt1" tx1="dk1" bg2="lt2" tx2="dk2" accent1="accent1" accent2="accent2" accent3="accent3" accent4="accent4" accent5="accent5" accent6="accent6" hlink="hlink" folHlink="folHlink"/>
    </a:extraClrScheme>
    <a:extraClrScheme>
      <a:clrScheme name="Network 10">
        <a:dk1>
          <a:srgbClr val="000000"/>
        </a:dk1>
        <a:lt1>
          <a:srgbClr val="FFFFFF"/>
        </a:lt1>
        <a:dk2>
          <a:srgbClr val="330066"/>
        </a:dk2>
        <a:lt2>
          <a:srgbClr val="808080"/>
        </a:lt2>
        <a:accent1>
          <a:srgbClr val="CCCC00"/>
        </a:accent1>
        <a:accent2>
          <a:srgbClr val="669999"/>
        </a:accent2>
        <a:accent3>
          <a:srgbClr val="FFFFFF"/>
        </a:accent3>
        <a:accent4>
          <a:srgbClr val="000000"/>
        </a:accent4>
        <a:accent5>
          <a:srgbClr val="E2E2AA"/>
        </a:accent5>
        <a:accent6>
          <a:srgbClr val="5C8A8A"/>
        </a:accent6>
        <a:hlink>
          <a:srgbClr val="7E9CE8"/>
        </a:hlink>
        <a:folHlink>
          <a:srgbClr val="D8D8EC"/>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4" id="{EA0DA09B-9BC1-5348-99DC-4ADBBF480E51}" vid="{8A589A23-0014-E148-BE64-D75A0DD3585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7301</TotalTime>
  <Words>3844</Words>
  <Application>Microsoft Macintosh PowerPoint</Application>
  <PresentationFormat>On-screen Show (16:9)</PresentationFormat>
  <Paragraphs>598</Paragraphs>
  <Slides>38</Slides>
  <Notes>35</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38</vt:i4>
      </vt:variant>
    </vt:vector>
  </HeadingPairs>
  <TitlesOfParts>
    <vt:vector size="49" baseType="lpstr">
      <vt:lpstr>Arial</vt:lpstr>
      <vt:lpstr>Arial Black</vt:lpstr>
      <vt:lpstr>Arial Narrow</vt:lpstr>
      <vt:lpstr>Arial Rounded MT Bold</vt:lpstr>
      <vt:lpstr>Calibri</vt:lpstr>
      <vt:lpstr>Lucida Grande</vt:lpstr>
      <vt:lpstr>Open Sans</vt:lpstr>
      <vt:lpstr>Webdings</vt:lpstr>
      <vt:lpstr>Wingdings</vt:lpstr>
      <vt:lpstr>Courseware Template-V8_with reference</vt:lpstr>
      <vt:lpstr>think-cell Slide</vt:lpstr>
      <vt:lpstr>Introducing the Scaled Agile Framework® (SAFe®)  for Lean Enterprises</vt:lpstr>
      <vt:lpstr>PowerPoint Presentation</vt:lpstr>
      <vt:lpstr>PowerPoint Presentation</vt:lpstr>
      <vt:lpstr>PowerPoint Presentation</vt:lpstr>
      <vt:lpstr>Management’s challenge</vt:lpstr>
      <vt:lpstr>What it is they must do</vt:lpstr>
      <vt:lpstr>PowerPoint Presentation</vt:lpstr>
      <vt:lpstr>PowerPoint Presentation</vt:lpstr>
      <vt:lpstr>Embrace a Lean-Agile mindset</vt:lpstr>
      <vt:lpstr>Embrace Lean-Agile values</vt:lpstr>
      <vt:lpstr>PowerPoint Presentation</vt:lpstr>
      <vt:lpstr>Building incrementally accelerates value delivery</vt:lpstr>
      <vt:lpstr>And delivers better economics </vt:lpstr>
      <vt:lpstr>Build the Lean enterprise</vt:lpstr>
      <vt:lpstr>Start with Essential SAFe</vt:lpstr>
      <vt:lpstr>Nothing beats an Agile Team </vt:lpstr>
      <vt:lpstr>Except a team of Agile Teams</vt:lpstr>
      <vt:lpstr>Bringing together the necessary people</vt:lpstr>
      <vt:lpstr>To deliver value continuously</vt:lpstr>
      <vt:lpstr>Synchronizing with PI Planning</vt:lpstr>
      <vt:lpstr>Demonstrating the full system every two weeks</vt:lpstr>
      <vt:lpstr>Inspecting and Adapting every PI</vt:lpstr>
      <vt:lpstr>Align strategy and execution with Portfolio SAFe</vt:lpstr>
      <vt:lpstr>The Portfolio challenge</vt:lpstr>
      <vt:lpstr>Apply SAFe Lean Portfolio Management</vt:lpstr>
      <vt:lpstr>Build big systems with Large Solution SAFe</vt:lpstr>
      <vt:lpstr>Apply Lean Systems Engineering</vt:lpstr>
      <vt:lpstr>Lead the transformation</vt:lpstr>
      <vt:lpstr>Leadership foundation</vt:lpstr>
      <vt:lpstr>Follow the SAFe Implementation Roadmap</vt:lpstr>
      <vt:lpstr>Get results</vt:lpstr>
      <vt:lpstr>Business results</vt:lpstr>
      <vt:lpstr>PowerPoint Presentation</vt:lpstr>
      <vt:lpstr>Gain the knowledge</vt:lpstr>
      <vt:lpstr>PowerPoint Presentation</vt:lpstr>
      <vt:lpstr>PowerPoint Presentation</vt:lpstr>
      <vt:lpstr>PowerPoint Presentation</vt:lpstr>
      <vt:lpstr>PowerPoint Presentation</vt:lpstr>
    </vt:vector>
  </TitlesOfParts>
  <Manager/>
  <Company>Scaled Agile, Inc., scaledagile.com, scaledagileframework.com</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roduction to the Scaled Agile Framework® (SAFe®)</dc:title>
  <dc:subject/>
  <dc:creator>© Scaled Agile, Inc.</dc:creator>
  <cp:keywords/>
  <dc:description/>
  <cp:lastModifiedBy>Lindsey Bohland</cp:lastModifiedBy>
  <cp:revision>347</cp:revision>
  <cp:lastPrinted>2016-08-01T14:40:30Z</cp:lastPrinted>
  <dcterms:created xsi:type="dcterms:W3CDTF">2016-07-19T22:15:22Z</dcterms:created>
  <dcterms:modified xsi:type="dcterms:W3CDTF">2019-02-21T18:55:50Z</dcterms:modified>
  <cp:category/>
</cp:coreProperties>
</file>